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0.xml" ContentType="application/vnd.openxmlformats-officedocument.presentationml.tags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6.xml" ContentType="application/vnd.openxmlformats-officedocument.presentationml.tags+xml"/>
  <Override PartName="/ppt/notesSlides/notesSlide21.xml" ContentType="application/vnd.openxmlformats-officedocument.presentationml.notesSlide+xml"/>
  <Override PartName="/ppt/tags/tag17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8.xml" ContentType="application/vnd.openxmlformats-officedocument.presentationml.tags+xml"/>
  <Override PartName="/ppt/notesSlides/notesSlide24.xml" ContentType="application/vnd.openxmlformats-officedocument.presentationml.notesSlide+xml"/>
  <Override PartName="/ppt/tags/tag19.xml" ContentType="application/vnd.openxmlformats-officedocument.presentationml.tags+xml"/>
  <Override PartName="/ppt/notesSlides/notesSlide25.xml" ContentType="application/vnd.openxmlformats-officedocument.presentationml.notesSlide+xml"/>
  <Override PartName="/ppt/tags/tag20.xml" ContentType="application/vnd.openxmlformats-officedocument.presentationml.tags+xml"/>
  <Override PartName="/ppt/notesSlides/notesSlide26.xml" ContentType="application/vnd.openxmlformats-officedocument.presentationml.notesSlide+xml"/>
  <Override PartName="/ppt/tags/tag21.xml" ContentType="application/vnd.openxmlformats-officedocument.presentationml.tags+xml"/>
  <Override PartName="/ppt/notesSlides/notesSlide27.xml" ContentType="application/vnd.openxmlformats-officedocument.presentationml.notesSlide+xml"/>
  <Override PartName="/ppt/tags/tag22.xml" ContentType="application/vnd.openxmlformats-officedocument.presentationml.tags+xml"/>
  <Override PartName="/ppt/notesSlides/notesSlide28.xml" ContentType="application/vnd.openxmlformats-officedocument.presentationml.notesSlide+xml"/>
  <Override PartName="/ppt/tags/tag23.xml" ContentType="application/vnd.openxmlformats-officedocument.presentationml.tags+xml"/>
  <Override PartName="/ppt/notesSlides/notesSlide29.xml" ContentType="application/vnd.openxmlformats-officedocument.presentationml.notesSlide+xml"/>
  <Override PartName="/ppt/tags/tag24.xml" ContentType="application/vnd.openxmlformats-officedocument.presentationml.tags+xml"/>
  <Override PartName="/ppt/notesSlides/notesSlide30.xml" ContentType="application/vnd.openxmlformats-officedocument.presentationml.notesSlide+xml"/>
  <Override PartName="/ppt/tags/tag25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26.xml" ContentType="application/vnd.openxmlformats-officedocument.presentationml.tags+xml"/>
  <Override PartName="/ppt/notesSlides/notesSlide34.xml" ContentType="application/vnd.openxmlformats-officedocument.presentationml.notesSlide+xml"/>
  <Override PartName="/ppt/tags/tag27.xml" ContentType="application/vnd.openxmlformats-officedocument.presentationml.tags+xml"/>
  <Override PartName="/ppt/notesSlides/notesSlide35.xml" ContentType="application/vnd.openxmlformats-officedocument.presentationml.notesSlide+xml"/>
  <Override PartName="/ppt/tags/tag28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tags/tag29.xml" ContentType="application/vnd.openxmlformats-officedocument.presentationml.tags+xml"/>
  <Override PartName="/ppt/notesSlides/notesSlide38.xml" ContentType="application/vnd.openxmlformats-officedocument.presentationml.notesSlide+xml"/>
  <Override PartName="/ppt/tags/tag30.xml" ContentType="application/vnd.openxmlformats-officedocument.presentationml.tags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706" r:id="rId1"/>
    <p:sldMasterId id="2147483707" r:id="rId2"/>
  </p:sldMasterIdLst>
  <p:notesMasterIdLst>
    <p:notesMasterId r:id="rId42"/>
  </p:notesMasterIdLst>
  <p:sldIdLst>
    <p:sldId id="256" r:id="rId3"/>
    <p:sldId id="29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97" r:id="rId13"/>
    <p:sldId id="298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</p:sldIdLst>
  <p:sldSz cx="9144000" cy="5143500" type="screen16x9"/>
  <p:notesSz cx="6858000" cy="9144000"/>
  <p:embeddedFontLst>
    <p:embeddedFont>
      <p:font typeface="Gill Sans" panose="020B0604020202020204" charset="0"/>
      <p:regular r:id="rId43"/>
      <p:bold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</p:embeddedFontLst>
  <p:custDataLst>
    <p:tags r:id="rId4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68C4699-AB98-44C9-B31D-74A4D996D0A0}">
  <a:tblStyle styleId="{168C4699-AB98-44C9-B31D-74A4D996D0A0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EB8A5D72-7349-467A-83C8-7FA37FD25383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6C9B198-DAAD-4278-9EEB-D73AD9A70B22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3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25400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852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font" Target="fonts/font5.fntdata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font" Target="fonts/font3.fntdata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font" Target="fonts/font2.fntdata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font" Target="fonts/font1.fntdata"/><Relationship Id="rId48" Type="http://schemas.openxmlformats.org/officeDocument/2006/relationships/font" Target="fonts/font6.fntdata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" name="Google Shape;134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46" name="Google Shape;134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2" name="Google Shape;1492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93" name="Google Shape;149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5" name="Google Shape;1345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6" name="Google Shape;1346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570215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5" name="Google Shape;1355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56" name="Google Shape;1356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fld id="{00000000-1234-1234-1234-123412341234}" type="slidenum">
              <a:rPr lang="ru-RU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8423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7" name="Google Shape;1527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28" name="Google Shape;1528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" name="Google Shape;1536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37" name="Google Shape;1537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" name="Google Shape;154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7" name="Google Shape;1547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57" name="Google Shape;155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70" name="Google Shape;1570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9" name="Google Shape;1579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80" name="Google Shape;158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" name="Google Shape;1608;p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9" name="Google Shape;160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AEA3089-047E-41F7-A6C9-D662513EE3B6}" type="datetime4">
              <a:rPr lang="ru-RU" smtClean="0"/>
              <a:t>25 мая 2023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407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25" name="Google Shape;1625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3" name="Google Shape;1633;p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4" name="Google Shape;1634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4" name="Google Shape;1644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45" name="Google Shape;1645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1" name="Google Shape;166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8" name="Google Shape;1668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0" name="Google Shape;1680;p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81" name="Google Shape;1681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2" name="Google Shape;1692;p2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3" name="Google Shape;1693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11" name="Google Shape;1711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1" name="Google Shape;1721;p2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22" name="Google Shape;1722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3" name="Google Shape;1743;p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44" name="Google Shape;1744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5" name="Google Shape;135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56" name="Google Shape;1356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57" name="Google Shape;1357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54" name="Google Shape;1754;p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55" name="Google Shape;1755;p3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2" name="Google Shape;1772;p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73" name="Google Shape;1773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3" name="Google Shape;1783;p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84" name="Google Shape;1784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3" name="Google Shape;1793;p3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94" name="Google Shape;179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02" name="Google Shape;1802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" name="Google Shape;1812;p3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3" name="Google Shape;1813;p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5" name="Google Shape;1825;p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26" name="Google Shape;1826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4" name="Google Shape;1834;p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5" name="Google Shape;1835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3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45" name="Google Shape;1845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4" name="Google Shape;1854;p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855" name="Google Shape;1855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0" name="Google Shape;1370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1" name="Google Shape;137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7" name="Google Shape;139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398" name="Google Shape;139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399" name="Google Shape;1399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Gill Sans"/>
              <a:buNone/>
            </a:pPr>
            <a:fld id="{00000000-1234-1234-1234-123412341234}" type="slidenum">
              <a:rPr lang="ru-RU" sz="12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rPr>
              <a:t>5</a:t>
            </a:fld>
            <a:endParaRPr sz="1200">
              <a:solidFill>
                <a:srgbClr val="000000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5" name="Google Shape;1415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16" name="Google Shape;1416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17" name="Google Shape;1417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</a:pPr>
            <a:fld id="{00000000-1234-1234-1234-123412341234}" type="slidenum">
              <a:rPr lang="ru-RU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2" name="Google Shape;143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33" name="Google Shape;1433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434" name="Google Shape;1434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fld id="{00000000-1234-1234-1234-123412341234}" type="slidenum">
              <a:rPr lang="ru-RU"/>
              <a:t>7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Google Shape;1458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59" name="Google Shape;145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" name="Google Shape;1474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75" name="Google Shape;147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29">
  <p:cSld name="Обложка 29">
    <p:bg>
      <p:bgPr>
        <a:solidFill>
          <a:schemeClr val="lt1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"/>
          <p:cNvSpPr>
            <a:spLocks noGrp="1"/>
          </p:cNvSpPr>
          <p:nvPr>
            <p:ph type="pic" idx="2"/>
          </p:nvPr>
        </p:nvSpPr>
        <p:spPr>
          <a:xfrm>
            <a:off x="0" y="1"/>
            <a:ext cx="6573598" cy="5143500"/>
          </a:xfrm>
          <a:prstGeom prst="rect">
            <a:avLst/>
          </a:prstGeom>
          <a:solidFill>
            <a:schemeClr val="dk2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" name="Google Shape;41;p2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2"/>
          <p:cNvSpPr txBox="1">
            <a:spLocks noGrp="1"/>
          </p:cNvSpPr>
          <p:nvPr>
            <p:ph type="ctrTitle"/>
          </p:nvPr>
        </p:nvSpPr>
        <p:spPr>
          <a:xfrm>
            <a:off x="323088" y="1666273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44" name="Google Shape;44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2"/>
          <p:cNvSpPr txBox="1">
            <a:spLocks noGrp="1"/>
          </p:cNvSpPr>
          <p:nvPr>
            <p:ph type="body" idx="3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47" name="Google Shape;47;p2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48" name="Google Shape;48;p2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Google Shape;49;p2"/>
            <p:cNvSpPr/>
            <p:nvPr/>
          </p:nvSpPr>
          <p:spPr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0" name="Google Shape;50;p2"/>
          <p:cNvSpPr txBox="1">
            <a:spLocks noGrp="1"/>
          </p:cNvSpPr>
          <p:nvPr>
            <p:ph type="body" idx="4"/>
          </p:nvPr>
        </p:nvSpPr>
        <p:spPr>
          <a:xfrm>
            <a:off x="358775" y="3447133"/>
            <a:ext cx="586676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51" name="Google Shape;51;p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52" name="Google Shape;52;p2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3" name="Google Shape;53;p2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54" name="Google Shape;54;p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5" name="Google Shape;55;p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" name="Google Shape;56;p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57" name="Google Shape;57;p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58" name="Google Shape;58;p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59" name="Google Shape;59;p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0" name="Google Shape;60;p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1" name="Google Shape;61;p2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62;p2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63;p2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64;p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5" name="Google Shape;65;p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" name="Google Shape;66;p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67;p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68;p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69;p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70;p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71;p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72;p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73;p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" name="Google Shape;74;p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5" name="Google Shape;75;p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8">
  <p:cSld name="Обложка 08">
    <p:bg>
      <p:bgPr>
        <a:solidFill>
          <a:schemeClr val="lt1"/>
        </a:solidFill>
        <a:effectLst/>
      </p:bgPr>
    </p:bg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11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11"/>
          <p:cNvSpPr txBox="1">
            <a:spLocks noGrp="1"/>
          </p:cNvSpPr>
          <p:nvPr>
            <p:ph type="ctrTitle"/>
          </p:nvPr>
        </p:nvSpPr>
        <p:spPr>
          <a:xfrm>
            <a:off x="323088" y="290286"/>
            <a:ext cx="5902453" cy="990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" name="Google Shape;316;p11"/>
          <p:cNvSpPr txBox="1">
            <a:spLocks noGrp="1"/>
          </p:cNvSpPr>
          <p:nvPr>
            <p:ph type="body" idx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17" name="Google Shape;317;p11"/>
          <p:cNvSpPr txBox="1">
            <a:spLocks noGrp="1"/>
          </p:cNvSpPr>
          <p:nvPr>
            <p:ph type="body" idx="2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318" name="Google Shape;318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319" name="Google Shape;319;p11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0" name="Google Shape;320;p11"/>
          <p:cNvSpPr>
            <a:spLocks noGrp="1"/>
          </p:cNvSpPr>
          <p:nvPr>
            <p:ph type="pic" idx="3"/>
          </p:nvPr>
        </p:nvSpPr>
        <p:spPr>
          <a:xfrm>
            <a:off x="0" y="2573149"/>
            <a:ext cx="6573598" cy="2570351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1" name="Google Shape;321;p1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322" name="Google Shape;322;p11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3" name="Google Shape;323;p11"/>
            <p:cNvSpPr/>
            <p:nvPr/>
          </p:nvSpPr>
          <p:spPr>
            <a:xfrm>
              <a:off x="7858800" y="0"/>
              <a:ext cx="1285200" cy="2571750"/>
            </a:xfrm>
            <a:custGeom>
              <a:avLst/>
              <a:gdLst/>
              <a:ahLst/>
              <a:cxnLst/>
              <a:rect l="l" t="t" r="r" b="b"/>
              <a:pathLst>
                <a:path w="2570480" h="2571750" extrusionOk="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4" name="Google Shape;324;p11"/>
            <p:cNvSpPr/>
            <p:nvPr/>
          </p:nvSpPr>
          <p:spPr>
            <a:xfrm>
              <a:off x="6573600" y="0"/>
              <a:ext cx="1285200" cy="2571750"/>
            </a:xfrm>
            <a:custGeom>
              <a:avLst/>
              <a:gdLst/>
              <a:ahLst/>
              <a:cxnLst/>
              <a:rect l="l" t="t" r="r" b="b"/>
              <a:pathLst>
                <a:path w="2570480" h="2571750" extrusionOk="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25" name="Google Shape;325;p11"/>
          <p:cNvSpPr txBox="1">
            <a:spLocks noGrp="1"/>
          </p:cNvSpPr>
          <p:nvPr>
            <p:ph type="body" idx="4"/>
          </p:nvPr>
        </p:nvSpPr>
        <p:spPr>
          <a:xfrm>
            <a:off x="358775" y="1334779"/>
            <a:ext cx="586676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326" name="Google Shape;326;p11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7" name="Google Shape;327;p1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28" name="Google Shape;328;p11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329" name="Google Shape;329;p1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330" name="Google Shape;330;p1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1" name="Google Shape;331;p1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332" name="Google Shape;332;p1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333" name="Google Shape;333;p1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334" name="Google Shape;334;p1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335" name="Google Shape;335;p11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336" name="Google Shape;336;p11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7" name="Google Shape;337;p11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8" name="Google Shape;338;p1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39" name="Google Shape;339;p1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0" name="Google Shape;340;p1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1" name="Google Shape;341;p1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2" name="Google Shape;342;p1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3" name="Google Shape;343;p1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4" name="Google Shape;344;p1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5" name="Google Shape;345;p1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6" name="Google Shape;346;p1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7" name="Google Shape;347;p1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8" name="Google Shape;348;p1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49" name="Google Shape;349;p1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50" name="Google Shape;350;p1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9">
  <p:cSld name="Обложка 09">
    <p:bg>
      <p:bgPr>
        <a:solidFill>
          <a:schemeClr val="lt1"/>
        </a:solidFill>
        <a:effectLst/>
      </p:bgPr>
    </p:bg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12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3" name="Google Shape;353;p12"/>
          <p:cNvSpPr txBox="1">
            <a:spLocks noGrp="1"/>
          </p:cNvSpPr>
          <p:nvPr>
            <p:ph type="ctrTitle"/>
          </p:nvPr>
        </p:nvSpPr>
        <p:spPr>
          <a:xfrm>
            <a:off x="323089" y="290285"/>
            <a:ext cx="5902452" cy="937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" name="Google Shape;354;p12"/>
          <p:cNvSpPr txBox="1">
            <a:spLocks noGrp="1"/>
          </p:cNvSpPr>
          <p:nvPr>
            <p:ph type="body" idx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355" name="Google Shape;355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356" name="Google Shape;356;p1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7" name="Google Shape;357;p12"/>
          <p:cNvSpPr>
            <a:spLocks noGrp="1"/>
          </p:cNvSpPr>
          <p:nvPr>
            <p:ph type="pic" idx="2"/>
          </p:nvPr>
        </p:nvSpPr>
        <p:spPr>
          <a:xfrm>
            <a:off x="0" y="2573149"/>
            <a:ext cx="6573598" cy="2570351"/>
          </a:xfrm>
          <a:prstGeom prst="rect">
            <a:avLst/>
          </a:prstGeom>
          <a:noFill/>
          <a:ln>
            <a:noFill/>
          </a:ln>
        </p:spPr>
      </p:sp>
      <p:sp>
        <p:nvSpPr>
          <p:cNvPr id="358" name="Google Shape;358;p12"/>
          <p:cNvSpPr>
            <a:spLocks noGrp="1"/>
          </p:cNvSpPr>
          <p:nvPr>
            <p:ph type="pic" idx="3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359" name="Google Shape;359;p12"/>
          <p:cNvSpPr txBox="1">
            <a:spLocks noGrp="1"/>
          </p:cNvSpPr>
          <p:nvPr>
            <p:ph type="body" idx="4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60" name="Google Shape;360;p12"/>
          <p:cNvSpPr txBox="1">
            <a:spLocks noGrp="1"/>
          </p:cNvSpPr>
          <p:nvPr>
            <p:ph type="body" idx="5"/>
          </p:nvPr>
        </p:nvSpPr>
        <p:spPr>
          <a:xfrm>
            <a:off x="358775" y="1334779"/>
            <a:ext cx="586676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361" name="Google Shape;361;p1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62" name="Google Shape;362;p12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63" name="Google Shape;363;p12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364" name="Google Shape;364;p1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365" name="Google Shape;365;p1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66" name="Google Shape;366;p1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367" name="Google Shape;367;p1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368" name="Google Shape;368;p1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369" name="Google Shape;369;p1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370" name="Google Shape;370;p1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371" name="Google Shape;371;p12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2" name="Google Shape;372;p12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3" name="Google Shape;373;p12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4" name="Google Shape;374;p1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5" name="Google Shape;375;p1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6" name="Google Shape;376;p1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7" name="Google Shape;377;p1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8" name="Google Shape;378;p1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79" name="Google Shape;379;p1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0" name="Google Shape;380;p1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1" name="Google Shape;381;p1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2" name="Google Shape;382;p1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3" name="Google Shape;383;p1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4" name="Google Shape;384;p1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85" name="Google Shape;385;p1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0">
  <p:cSld name="Обложка 10">
    <p:bg>
      <p:bgPr>
        <a:solidFill>
          <a:schemeClr val="lt1"/>
        </a:solidFill>
        <a:effectLst/>
      </p:bgPr>
    </p:bg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13"/>
          <p:cNvSpPr/>
          <p:nvPr/>
        </p:nvSpPr>
        <p:spPr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8" name="Google Shape;388;p13"/>
          <p:cNvSpPr txBox="1">
            <a:spLocks noGrp="1"/>
          </p:cNvSpPr>
          <p:nvPr>
            <p:ph type="ctrTitle"/>
          </p:nvPr>
        </p:nvSpPr>
        <p:spPr>
          <a:xfrm>
            <a:off x="323088" y="275770"/>
            <a:ext cx="6768592" cy="13933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13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390" name="Google Shape;390;p13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391" name="Google Shape;391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40102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13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" name="Google Shape;393;p13"/>
          <p:cNvSpPr>
            <a:spLocks noGrp="1"/>
          </p:cNvSpPr>
          <p:nvPr>
            <p:ph type="pic" idx="3"/>
          </p:nvPr>
        </p:nvSpPr>
        <p:spPr>
          <a:xfrm>
            <a:off x="1" y="3429900"/>
            <a:ext cx="7430397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394" name="Google Shape;394;p13"/>
          <p:cNvSpPr/>
          <p:nvPr/>
        </p:nvSpPr>
        <p:spPr>
          <a:xfrm>
            <a:off x="7430400" y="3429900"/>
            <a:ext cx="1713600" cy="1713600"/>
          </a:xfrm>
          <a:custGeom>
            <a:avLst/>
            <a:gdLst/>
            <a:ahLst/>
            <a:cxnLst/>
            <a:rect l="l" t="t" r="r" b="b"/>
            <a:pathLst>
              <a:path w="5132824" h="5144399" extrusionOk="0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5" name="Google Shape;395;p13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396" name="Google Shape;396;p1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7" name="Google Shape;397;p13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398" name="Google Shape;398;p13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399" name="Google Shape;399;p13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0" name="Google Shape;400;p1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1" name="Google Shape;401;p1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402" name="Google Shape;402;p1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403" name="Google Shape;403;p1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404" name="Google Shape;404;p1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05" name="Google Shape;405;p1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06" name="Google Shape;406;p1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7" name="Google Shape;407;p13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8" name="Google Shape;408;p13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09" name="Google Shape;409;p13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0" name="Google Shape;410;p1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1" name="Google Shape;411;p1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2" name="Google Shape;412;p1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3" name="Google Shape;413;p1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4" name="Google Shape;414;p1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5" name="Google Shape;415;p1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6" name="Google Shape;416;p1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7" name="Google Shape;417;p1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8" name="Google Shape;418;p1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19" name="Google Shape;419;p1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20" name="Google Shape;420;p1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1">
  <p:cSld name="Обложка 11">
    <p:bg>
      <p:bgPr>
        <a:solidFill>
          <a:schemeClr val="lt1"/>
        </a:solidFill>
        <a:effectLst/>
      </p:bgPr>
    </p:bg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p14"/>
          <p:cNvSpPr/>
          <p:nvPr/>
        </p:nvSpPr>
        <p:spPr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3" name="Google Shape;423;p14"/>
          <p:cNvSpPr txBox="1">
            <a:spLocks noGrp="1"/>
          </p:cNvSpPr>
          <p:nvPr>
            <p:ph type="ctrTitle"/>
          </p:nvPr>
        </p:nvSpPr>
        <p:spPr>
          <a:xfrm>
            <a:off x="323087" y="290286"/>
            <a:ext cx="8462137" cy="13813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" name="Google Shape;424;p14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25" name="Google Shape;425;p14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426" name="Google Shape;426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427" name="Google Shape;427;p14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8" name="Google Shape;428;p14"/>
          <p:cNvSpPr>
            <a:spLocks noGrp="1"/>
          </p:cNvSpPr>
          <p:nvPr>
            <p:ph type="pic" idx="3"/>
          </p:nvPr>
        </p:nvSpPr>
        <p:spPr>
          <a:xfrm>
            <a:off x="1" y="3429900"/>
            <a:ext cx="7430397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429" name="Google Shape;429;p14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430" name="Google Shape;430;p14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31" name="Google Shape;431;p1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32" name="Google Shape;432;p14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433" name="Google Shape;433;p14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4" name="Google Shape;434;p14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35" name="Google Shape;435;p1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436" name="Google Shape;436;p1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437" name="Google Shape;437;p1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438" name="Google Shape;438;p1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39" name="Google Shape;439;p1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40" name="Google Shape;440;p1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1" name="Google Shape;441;p1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2" name="Google Shape;442;p14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3" name="Google Shape;443;p14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4" name="Google Shape;444;p14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5" name="Google Shape;445;p1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6" name="Google Shape;446;p1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7" name="Google Shape;447;p1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8" name="Google Shape;448;p1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49" name="Google Shape;449;p1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0" name="Google Shape;450;p1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1" name="Google Shape;451;p1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2" name="Google Shape;452;p1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3" name="Google Shape;453;p1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54" name="Google Shape;454;p1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2">
  <p:cSld name="Обложка 12">
    <p:bg>
      <p:bgPr>
        <a:solidFill>
          <a:schemeClr val="lt1"/>
        </a:solidFill>
        <a:effectLst/>
      </p:bgPr>
    </p:bg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15"/>
          <p:cNvSpPr/>
          <p:nvPr/>
        </p:nvSpPr>
        <p:spPr>
          <a:xfrm>
            <a:off x="7431300" y="3429900"/>
            <a:ext cx="1712700" cy="17136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15"/>
          <p:cNvSpPr txBox="1">
            <a:spLocks noGrp="1"/>
          </p:cNvSpPr>
          <p:nvPr>
            <p:ph type="ctrTitle"/>
          </p:nvPr>
        </p:nvSpPr>
        <p:spPr>
          <a:xfrm>
            <a:off x="323088" y="314974"/>
            <a:ext cx="6768592" cy="13807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15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59" name="Google Shape;459;p15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460" name="Google Shape;460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461" name="Google Shape;461;p15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15"/>
          <p:cNvSpPr>
            <a:spLocks noGrp="1"/>
          </p:cNvSpPr>
          <p:nvPr>
            <p:ph type="pic" idx="3"/>
          </p:nvPr>
        </p:nvSpPr>
        <p:spPr>
          <a:xfrm>
            <a:off x="1" y="3429900"/>
            <a:ext cx="7430397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463" name="Google Shape;463;p15"/>
          <p:cNvSpPr>
            <a:spLocks noGrp="1"/>
          </p:cNvSpPr>
          <p:nvPr>
            <p:ph type="pic" idx="4"/>
          </p:nvPr>
        </p:nvSpPr>
        <p:spPr>
          <a:xfrm>
            <a:off x="7430400" y="0"/>
            <a:ext cx="17136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464" name="Google Shape;464;p15"/>
          <p:cNvSpPr>
            <a:spLocks noGrp="1"/>
          </p:cNvSpPr>
          <p:nvPr>
            <p:ph type="pic" idx="5"/>
          </p:nvPr>
        </p:nvSpPr>
        <p:spPr>
          <a:xfrm>
            <a:off x="7430401" y="1714950"/>
            <a:ext cx="1713599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465" name="Google Shape;465;p15"/>
          <p:cNvSpPr txBox="1">
            <a:spLocks noGrp="1"/>
          </p:cNvSpPr>
          <p:nvPr>
            <p:ph type="body" idx="6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466" name="Google Shape;466;p1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67" name="Google Shape;467;p1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468" name="Google Shape;468;p15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469" name="Google Shape;469;p15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70" name="Google Shape;470;p15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1" name="Google Shape;471;p15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472" name="Google Shape;472;p1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473" name="Google Shape;473;p1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474" name="Google Shape;474;p1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75" name="Google Shape;475;p1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476" name="Google Shape;476;p1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7" name="Google Shape;477;p1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8" name="Google Shape;478;p1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79" name="Google Shape;479;p15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0" name="Google Shape;480;p15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1" name="Google Shape;481;p15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2" name="Google Shape;482;p1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3" name="Google Shape;483;p1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4" name="Google Shape;484;p15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5" name="Google Shape;485;p1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6" name="Google Shape;486;p1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7" name="Google Shape;487;p1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8" name="Google Shape;488;p1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89" name="Google Shape;489;p1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490" name="Google Shape;490;p1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3">
  <p:cSld name="Обложка 13">
    <p:bg>
      <p:bgPr>
        <a:solidFill>
          <a:schemeClr val="lt1"/>
        </a:solidFill>
        <a:effectLst/>
      </p:bgPr>
    </p:bg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Google Shape;492;p16"/>
          <p:cNvSpPr/>
          <p:nvPr/>
        </p:nvSpPr>
        <p:spPr>
          <a:xfrm>
            <a:off x="7426800" y="3425398"/>
            <a:ext cx="1717200" cy="1718102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3" name="Google Shape;493;p16"/>
          <p:cNvSpPr txBox="1">
            <a:spLocks noGrp="1"/>
          </p:cNvSpPr>
          <p:nvPr>
            <p:ph type="ctrTitle"/>
          </p:nvPr>
        </p:nvSpPr>
        <p:spPr>
          <a:xfrm>
            <a:off x="323088" y="304800"/>
            <a:ext cx="6768592" cy="1349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" name="Google Shape;494;p16"/>
          <p:cNvSpPr txBox="1">
            <a:spLocks noGrp="1"/>
          </p:cNvSpPr>
          <p:nvPr>
            <p:ph type="body" idx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495" name="Google Shape;495;p16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496" name="Google Shape;496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497" name="Google Shape;497;p16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8" name="Google Shape;498;p16"/>
          <p:cNvSpPr>
            <a:spLocks noGrp="1"/>
          </p:cNvSpPr>
          <p:nvPr>
            <p:ph type="pic" idx="3"/>
          </p:nvPr>
        </p:nvSpPr>
        <p:spPr>
          <a:xfrm>
            <a:off x="1" y="3425398"/>
            <a:ext cx="7422299" cy="1718102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9" name="Google Shape;499;p16"/>
          <p:cNvGrpSpPr/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00" name="Google Shape;500;p1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1" name="Google Shape;501;p1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02" name="Google Shape;502;p16"/>
          <p:cNvSpPr/>
          <p:nvPr/>
        </p:nvSpPr>
        <p:spPr>
          <a:xfrm>
            <a:off x="7426804" y="0"/>
            <a:ext cx="1717196" cy="1718102"/>
          </a:xfrm>
          <a:custGeom>
            <a:avLst/>
            <a:gdLst/>
            <a:ahLst/>
            <a:cxnLst/>
            <a:rect l="l" t="t" r="r" b="b"/>
            <a:pathLst>
              <a:path w="1712696" h="1713600" extrusionOk="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16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504" name="Google Shape;504;p1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505" name="Google Shape;505;p1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06" name="Google Shape;506;p16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507" name="Google Shape;507;p16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8" name="Google Shape;508;p16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09" name="Google Shape;509;p16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510" name="Google Shape;510;p16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511" name="Google Shape;511;p1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512" name="Google Shape;512;p1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13" name="Google Shape;513;p1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14" name="Google Shape;514;p1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5" name="Google Shape;515;p1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6" name="Google Shape;516;p1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7" name="Google Shape;517;p1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8" name="Google Shape;518;p16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19" name="Google Shape;519;p16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0" name="Google Shape;520;p16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1" name="Google Shape;521;p1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2" name="Google Shape;522;p1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3" name="Google Shape;523;p1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4" name="Google Shape;524;p1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5" name="Google Shape;525;p1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6" name="Google Shape;526;p1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7" name="Google Shape;527;p1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28" name="Google Shape;528;p1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4">
  <p:cSld name="Обложка 14">
    <p:bg>
      <p:bgPr>
        <a:solidFill>
          <a:schemeClr val="lt1"/>
        </a:solidFill>
        <a:effectLst/>
      </p:bgPr>
    </p:bg>
    <p:spTree>
      <p:nvGrpSpPr>
        <p:cNvPr id="1" name="Shape 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Google Shape;530;p17"/>
          <p:cNvSpPr txBox="1">
            <a:spLocks noGrp="1"/>
          </p:cNvSpPr>
          <p:nvPr>
            <p:ph type="ctrTitle"/>
          </p:nvPr>
        </p:nvSpPr>
        <p:spPr>
          <a:xfrm>
            <a:off x="323088" y="290286"/>
            <a:ext cx="6768592" cy="1364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p17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532" name="Google Shape;532;p17"/>
          <p:cNvSpPr txBox="1">
            <a:spLocks noGrp="1"/>
          </p:cNvSpPr>
          <p:nvPr>
            <p:ph type="body" idx="2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533" name="Google Shape;533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56136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534" name="Google Shape;534;p17"/>
          <p:cNvSpPr>
            <a:spLocks noGrp="1"/>
          </p:cNvSpPr>
          <p:nvPr>
            <p:ph type="pic" idx="3"/>
          </p:nvPr>
        </p:nvSpPr>
        <p:spPr>
          <a:xfrm>
            <a:off x="2" y="3429900"/>
            <a:ext cx="5715898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535" name="Google Shape;535;p17"/>
          <p:cNvSpPr>
            <a:spLocks noGrp="1"/>
          </p:cNvSpPr>
          <p:nvPr>
            <p:ph type="pic" idx="4"/>
          </p:nvPr>
        </p:nvSpPr>
        <p:spPr>
          <a:xfrm>
            <a:off x="7430400" y="3429900"/>
            <a:ext cx="17136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536" name="Google Shape;536;p17"/>
          <p:cNvSpPr>
            <a:spLocks noGrp="1"/>
          </p:cNvSpPr>
          <p:nvPr>
            <p:ph type="pic" idx="5"/>
          </p:nvPr>
        </p:nvSpPr>
        <p:spPr>
          <a:xfrm>
            <a:off x="5716800" y="3429900"/>
            <a:ext cx="1713599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537" name="Google Shape;537;p17"/>
          <p:cNvSpPr txBox="1">
            <a:spLocks noGrp="1"/>
          </p:cNvSpPr>
          <p:nvPr>
            <p:ph type="body" idx="6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538" name="Google Shape;538;p1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539" name="Google Shape;539;p1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40" name="Google Shape;540;p17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541" name="Google Shape;541;p17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42" name="Google Shape;542;p1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3" name="Google Shape;543;p17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544" name="Google Shape;544;p17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545" name="Google Shape;545;p17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546" name="Google Shape;546;p1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47" name="Google Shape;547;p1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48" name="Google Shape;548;p1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49" name="Google Shape;549;p1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0" name="Google Shape;550;p1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1" name="Google Shape;551;p1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2" name="Google Shape;552;p1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3" name="Google Shape;553;p17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4" name="Google Shape;554;p17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5" name="Google Shape;555;p1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6" name="Google Shape;556;p1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7" name="Google Shape;557;p1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8" name="Google Shape;558;p1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59" name="Google Shape;559;p1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0" name="Google Shape;560;p1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1" name="Google Shape;561;p1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62" name="Google Shape;562;p1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5">
  <p:cSld name="Обложка 15">
    <p:bg>
      <p:bgPr>
        <a:solidFill>
          <a:schemeClr val="lt1"/>
        </a:solidFill>
        <a:effectLst/>
      </p:bgPr>
    </p:bg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Google Shape;564;p18"/>
          <p:cNvSpPr txBox="1">
            <a:spLocks noGrp="1"/>
          </p:cNvSpPr>
          <p:nvPr>
            <p:ph type="ctrTitle"/>
          </p:nvPr>
        </p:nvSpPr>
        <p:spPr>
          <a:xfrm>
            <a:off x="323088" y="290286"/>
            <a:ext cx="6768592" cy="1349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p18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566" name="Google Shape;566;p18"/>
          <p:cNvSpPr txBox="1">
            <a:spLocks noGrp="1"/>
          </p:cNvSpPr>
          <p:nvPr>
            <p:ph type="body" idx="2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567" name="Google Shape;567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56136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568" name="Google Shape;568;p18"/>
          <p:cNvSpPr>
            <a:spLocks noGrp="1"/>
          </p:cNvSpPr>
          <p:nvPr>
            <p:ph type="pic" idx="3"/>
          </p:nvPr>
        </p:nvSpPr>
        <p:spPr>
          <a:xfrm>
            <a:off x="2" y="3429900"/>
            <a:ext cx="5715898" cy="171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69" name="Google Shape;569;p18"/>
          <p:cNvGrpSpPr/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0" name="Google Shape;570;p18"/>
            <p:cNvSpPr/>
            <p:nvPr/>
          </p:nvSpPr>
          <p:spPr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1" name="Google Shape;571;p18"/>
            <p:cNvSpPr/>
            <p:nvPr/>
          </p:nvSpPr>
          <p:spPr>
            <a:xfrm>
              <a:off x="5494026" y="3426300"/>
              <a:ext cx="1716352" cy="1717200"/>
            </a:xfrm>
            <a:custGeom>
              <a:avLst/>
              <a:gdLst/>
              <a:ahLst/>
              <a:cxnLst/>
              <a:rect l="l" t="t" r="r" b="b"/>
              <a:pathLst>
                <a:path w="2570480" h="2571750" extrusionOk="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72" name="Google Shape;572;p18"/>
          <p:cNvGrpSpPr/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73" name="Google Shape;573;p18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4" name="Google Shape;574;p18"/>
            <p:cNvSpPr/>
            <p:nvPr/>
          </p:nvSpPr>
          <p:spPr>
            <a:xfrm>
              <a:off x="6573600" y="0"/>
              <a:ext cx="2570400" cy="2570400"/>
            </a:xfrm>
            <a:custGeom>
              <a:avLst/>
              <a:gdLst/>
              <a:ahLst/>
              <a:cxnLst/>
              <a:rect l="l" t="t" r="r" b="b"/>
              <a:pathLst>
                <a:path w="5132824" h="5144399" extrusionOk="0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75" name="Google Shape;575;p18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576" name="Google Shape;576;p1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577" name="Google Shape;577;p1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578" name="Google Shape;578;p18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579" name="Google Shape;579;p1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80" name="Google Shape;580;p1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1" name="Google Shape;581;p1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582" name="Google Shape;582;p18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583" name="Google Shape;583;p18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584" name="Google Shape;584;p18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85" name="Google Shape;585;p1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586" name="Google Shape;586;p1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7" name="Google Shape;587;p1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8" name="Google Shape;588;p1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9" name="Google Shape;589;p1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0" name="Google Shape;590;p1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1" name="Google Shape;591;p1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2" name="Google Shape;592;p1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3" name="Google Shape;593;p1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4" name="Google Shape;594;p1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5" name="Google Shape;595;p1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6" name="Google Shape;596;p1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7" name="Google Shape;597;p1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8" name="Google Shape;598;p1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9" name="Google Shape;599;p1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0" name="Google Shape;600;p1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6">
  <p:cSld name="Обложка 16"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Google Shape;602;p19"/>
          <p:cNvSpPr txBox="1">
            <a:spLocks noGrp="1"/>
          </p:cNvSpPr>
          <p:nvPr>
            <p:ph type="ctrTitle"/>
          </p:nvPr>
        </p:nvSpPr>
        <p:spPr>
          <a:xfrm>
            <a:off x="340931" y="283237"/>
            <a:ext cx="6768592" cy="1456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19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04" name="Google Shape;604;p19"/>
          <p:cNvSpPr txBox="1">
            <a:spLocks noGrp="1"/>
          </p:cNvSpPr>
          <p:nvPr>
            <p:ph type="body" idx="2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605" name="Google Shape;605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56136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606" name="Google Shape;606;p19"/>
          <p:cNvSpPr>
            <a:spLocks noGrp="1"/>
          </p:cNvSpPr>
          <p:nvPr>
            <p:ph type="pic" idx="3"/>
          </p:nvPr>
        </p:nvSpPr>
        <p:spPr>
          <a:xfrm>
            <a:off x="2" y="3423920"/>
            <a:ext cx="5715898" cy="171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07" name="Google Shape;607;p19"/>
          <p:cNvGrpSpPr/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608" name="Google Shape;608;p19"/>
            <p:cNvSpPr/>
            <p:nvPr/>
          </p:nvSpPr>
          <p:spPr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9" name="Google Shape;609;p19"/>
            <p:cNvSpPr/>
            <p:nvPr/>
          </p:nvSpPr>
          <p:spPr>
            <a:xfrm>
              <a:off x="5494026" y="3426300"/>
              <a:ext cx="1716352" cy="1717200"/>
            </a:xfrm>
            <a:custGeom>
              <a:avLst/>
              <a:gdLst/>
              <a:ahLst/>
              <a:cxnLst/>
              <a:rect l="l" t="t" r="r" b="b"/>
              <a:pathLst>
                <a:path w="2570480" h="2571750" extrusionOk="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10" name="Google Shape;610;p19"/>
          <p:cNvGrpSpPr/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611" name="Google Shape;611;p19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2" name="Google Shape;612;p19"/>
            <p:cNvSpPr/>
            <p:nvPr/>
          </p:nvSpPr>
          <p:spPr>
            <a:xfrm>
              <a:off x="6573600" y="0"/>
              <a:ext cx="2570400" cy="2570400"/>
            </a:xfrm>
            <a:custGeom>
              <a:avLst/>
              <a:gdLst/>
              <a:ahLst/>
              <a:cxnLst/>
              <a:rect l="l" t="t" r="r" b="b"/>
              <a:pathLst>
                <a:path w="5132824" h="5144399" extrusionOk="0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13" name="Google Shape;613;p19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614" name="Google Shape;614;p1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15" name="Google Shape;615;p1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16" name="Google Shape;616;p19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617" name="Google Shape;617;p1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18" name="Google Shape;618;p1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9" name="Google Shape;619;p1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620" name="Google Shape;620;p1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621" name="Google Shape;621;p19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622" name="Google Shape;622;p19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23" name="Google Shape;623;p19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24" name="Google Shape;624;p1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5" name="Google Shape;625;p1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6" name="Google Shape;626;p1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7" name="Google Shape;627;p1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8" name="Google Shape;628;p1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9" name="Google Shape;629;p1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0" name="Google Shape;630;p1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1" name="Google Shape;631;p1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2" name="Google Shape;632;p1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3" name="Google Shape;633;p1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4" name="Google Shape;634;p1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5" name="Google Shape;635;p1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6" name="Google Shape;636;p1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7" name="Google Shape;637;p1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8" name="Google Shape;638;p1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7">
  <p:cSld name="Обложка 17">
    <p:bg>
      <p:bgPr>
        <a:solidFill>
          <a:schemeClr val="lt1"/>
        </a:solidFill>
        <a:effectLst/>
      </p:bgPr>
    </p:bg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20"/>
          <p:cNvSpPr/>
          <p:nvPr/>
        </p:nvSpPr>
        <p:spPr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1" name="Google Shape;641;p20"/>
          <p:cNvSpPr txBox="1">
            <a:spLocks noGrp="1"/>
          </p:cNvSpPr>
          <p:nvPr>
            <p:ph type="ctrTitle"/>
          </p:nvPr>
        </p:nvSpPr>
        <p:spPr>
          <a:xfrm>
            <a:off x="340931" y="299295"/>
            <a:ext cx="6768592" cy="1456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p20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43" name="Google Shape;643;p20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644" name="Google Shape;644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645" name="Google Shape;645;p20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6" name="Google Shape;646;p20"/>
          <p:cNvSpPr>
            <a:spLocks noGrp="1"/>
          </p:cNvSpPr>
          <p:nvPr>
            <p:ph type="pic" idx="3"/>
          </p:nvPr>
        </p:nvSpPr>
        <p:spPr>
          <a:xfrm>
            <a:off x="1" y="3429900"/>
            <a:ext cx="7430397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647" name="Google Shape;647;p20"/>
          <p:cNvSpPr>
            <a:spLocks noGrp="1"/>
          </p:cNvSpPr>
          <p:nvPr>
            <p:ph type="pic" idx="4"/>
          </p:nvPr>
        </p:nvSpPr>
        <p:spPr>
          <a:xfrm>
            <a:off x="7430400" y="0"/>
            <a:ext cx="17136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648" name="Google Shape;648;p20"/>
          <p:cNvSpPr>
            <a:spLocks noGrp="1"/>
          </p:cNvSpPr>
          <p:nvPr>
            <p:ph type="pic" idx="5"/>
          </p:nvPr>
        </p:nvSpPr>
        <p:spPr>
          <a:xfrm>
            <a:off x="7430401" y="1714950"/>
            <a:ext cx="1713599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649" name="Google Shape;649;p20"/>
          <p:cNvSpPr txBox="1">
            <a:spLocks noGrp="1"/>
          </p:cNvSpPr>
          <p:nvPr>
            <p:ph type="body" idx="6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650" name="Google Shape;650;p20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51" name="Google Shape;651;p2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52" name="Google Shape;652;p20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653" name="Google Shape;653;p2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54" name="Google Shape;654;p2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55" name="Google Shape;655;p2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656" name="Google Shape;656;p2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657" name="Google Shape;657;p2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658" name="Google Shape;658;p20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59" name="Google Shape;659;p20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60" name="Google Shape;660;p20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1" name="Google Shape;661;p2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2" name="Google Shape;662;p2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3" name="Google Shape;663;p2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4" name="Google Shape;664;p2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5" name="Google Shape;665;p2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6" name="Google Shape;666;p2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7" name="Google Shape;667;p2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8" name="Google Shape;668;p2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69" name="Google Shape;669;p2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0" name="Google Shape;670;p2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1" name="Google Shape;671;p2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2" name="Google Shape;672;p2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3" name="Google Shape;673;p2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4" name="Google Shape;674;p2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 01">
  <p:cSld name="Только заголовок 01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3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00" cy="67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3"/>
          <p:cNvSpPr txBox="1">
            <a:spLocks noGrp="1"/>
          </p:cNvSpPr>
          <p:nvPr>
            <p:ph type="ftr" idx="11"/>
          </p:nvPr>
        </p:nvSpPr>
        <p:spPr>
          <a:xfrm>
            <a:off x="2894399" y="4755454"/>
            <a:ext cx="5317800" cy="2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 lang="en-US" dirty="0"/>
          </a:p>
        </p:txBody>
      </p:sp>
      <p:sp>
        <p:nvSpPr>
          <p:cNvPr id="80" name="Google Shape;80;p3"/>
          <p:cNvSpPr txBox="1">
            <a:spLocks noGrp="1"/>
          </p:cNvSpPr>
          <p:nvPr>
            <p:ph type="sldNum" idx="12"/>
          </p:nvPr>
        </p:nvSpPr>
        <p:spPr>
          <a:xfrm>
            <a:off x="8465974" y="4760859"/>
            <a:ext cx="319200" cy="1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ransition spd="slow">
    <p:fade thruBlk="1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8">
  <p:cSld name="Обложка 18">
    <p:bg>
      <p:bgPr>
        <a:solidFill>
          <a:schemeClr val="lt1"/>
        </a:solidFill>
        <a:effectLst/>
      </p:bgPr>
    </p:bg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Google Shape;676;p21"/>
          <p:cNvSpPr/>
          <p:nvPr/>
        </p:nvSpPr>
        <p:spPr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7" name="Google Shape;677;p21"/>
          <p:cNvSpPr txBox="1">
            <a:spLocks noGrp="1"/>
          </p:cNvSpPr>
          <p:nvPr>
            <p:ph type="ctrTitle"/>
          </p:nvPr>
        </p:nvSpPr>
        <p:spPr>
          <a:xfrm>
            <a:off x="323088" y="283237"/>
            <a:ext cx="6768592" cy="1456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21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679" name="Google Shape;679;p21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680" name="Google Shape;680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681" name="Google Shape;681;p21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2" name="Google Shape;682;p21"/>
          <p:cNvSpPr>
            <a:spLocks noGrp="1"/>
          </p:cNvSpPr>
          <p:nvPr>
            <p:ph type="pic" idx="3"/>
          </p:nvPr>
        </p:nvSpPr>
        <p:spPr>
          <a:xfrm>
            <a:off x="1" y="3425398"/>
            <a:ext cx="7430397" cy="1718102"/>
          </a:xfrm>
          <a:prstGeom prst="rect">
            <a:avLst/>
          </a:prstGeom>
          <a:noFill/>
          <a:ln>
            <a:noFill/>
          </a:ln>
        </p:spPr>
      </p:sp>
      <p:sp>
        <p:nvSpPr>
          <p:cNvPr id="683" name="Google Shape;683;p21"/>
          <p:cNvSpPr/>
          <p:nvPr/>
        </p:nvSpPr>
        <p:spPr>
          <a:xfrm>
            <a:off x="7426800" y="1712699"/>
            <a:ext cx="1717200" cy="171810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84" name="Google Shape;684;p21"/>
          <p:cNvGrpSpPr/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85" name="Google Shape;685;p21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6" name="Google Shape;686;p21"/>
            <p:cNvSpPr/>
            <p:nvPr/>
          </p:nvSpPr>
          <p:spPr>
            <a:xfrm>
              <a:off x="6573600" y="0"/>
              <a:ext cx="2570400" cy="2570400"/>
            </a:xfrm>
            <a:custGeom>
              <a:avLst/>
              <a:gdLst/>
              <a:ahLst/>
              <a:cxnLst/>
              <a:rect l="l" t="t" r="r" b="b"/>
              <a:pathLst>
                <a:path w="5132824" h="5144399" extrusionOk="0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87" name="Google Shape;687;p21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688" name="Google Shape;688;p21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89" name="Google Shape;689;p2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690" name="Google Shape;690;p21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691" name="Google Shape;691;p2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92" name="Google Shape;692;p2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3" name="Google Shape;693;p2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694" name="Google Shape;694;p2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695" name="Google Shape;695;p2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696" name="Google Shape;696;p2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97" name="Google Shape;697;p21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698" name="Google Shape;698;p21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9" name="Google Shape;699;p21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0" name="Google Shape;700;p2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1" name="Google Shape;701;p2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2" name="Google Shape;702;p2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3" name="Google Shape;703;p2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4" name="Google Shape;704;p2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5" name="Google Shape;705;p2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6" name="Google Shape;706;p2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7" name="Google Shape;707;p2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8" name="Google Shape;708;p2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9" name="Google Shape;709;p2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0" name="Google Shape;710;p2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1" name="Google Shape;711;p2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2" name="Google Shape;712;p2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19">
  <p:cSld name="Обложка 19">
    <p:bg>
      <p:bgPr>
        <a:solidFill>
          <a:schemeClr val="lt1"/>
        </a:solidFill>
        <a:effectLst/>
      </p:bgPr>
    </p:bg>
    <p:spTree>
      <p:nvGrpSpPr>
        <p:cNvPr id="1" name="Shape 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Google Shape;714;p22"/>
          <p:cNvSpPr/>
          <p:nvPr/>
        </p:nvSpPr>
        <p:spPr>
          <a:xfrm>
            <a:off x="7431300" y="3429900"/>
            <a:ext cx="1712700" cy="17136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5" name="Google Shape;715;p22"/>
          <p:cNvSpPr txBox="1">
            <a:spLocks noGrp="1"/>
          </p:cNvSpPr>
          <p:nvPr>
            <p:ph type="ctrTitle"/>
          </p:nvPr>
        </p:nvSpPr>
        <p:spPr>
          <a:xfrm>
            <a:off x="323088" y="280986"/>
            <a:ext cx="6768592" cy="1456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" name="Google Shape;716;p22"/>
          <p:cNvSpPr txBox="1">
            <a:spLocks noGrp="1"/>
          </p:cNvSpPr>
          <p:nvPr>
            <p:ph type="body" idx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17" name="Google Shape;717;p22"/>
          <p:cNvSpPr txBox="1">
            <a:spLocks noGrp="1"/>
          </p:cNvSpPr>
          <p:nvPr>
            <p:ph type="body" idx="2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718" name="Google Shape;718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04824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719" name="Google Shape;719;p2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0" name="Google Shape;720;p22"/>
          <p:cNvSpPr>
            <a:spLocks noGrp="1"/>
          </p:cNvSpPr>
          <p:nvPr>
            <p:ph type="pic" idx="3"/>
          </p:nvPr>
        </p:nvSpPr>
        <p:spPr>
          <a:xfrm>
            <a:off x="1" y="3429900"/>
            <a:ext cx="7430397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721" name="Google Shape;721;p22"/>
          <p:cNvSpPr>
            <a:spLocks noGrp="1"/>
          </p:cNvSpPr>
          <p:nvPr>
            <p:ph type="pic" idx="4"/>
          </p:nvPr>
        </p:nvSpPr>
        <p:spPr>
          <a:xfrm>
            <a:off x="7430400" y="0"/>
            <a:ext cx="17136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722" name="Google Shape;722;p22"/>
          <p:cNvSpPr>
            <a:spLocks noGrp="1"/>
          </p:cNvSpPr>
          <p:nvPr>
            <p:ph type="pic" idx="5"/>
          </p:nvPr>
        </p:nvSpPr>
        <p:spPr>
          <a:xfrm>
            <a:off x="7430401" y="1714950"/>
            <a:ext cx="1713599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723" name="Google Shape;723;p22"/>
          <p:cNvSpPr txBox="1">
            <a:spLocks noGrp="1"/>
          </p:cNvSpPr>
          <p:nvPr>
            <p:ph type="body" idx="6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724" name="Google Shape;724;p2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25" name="Google Shape;725;p22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26" name="Google Shape;726;p22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727" name="Google Shape;727;p2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28" name="Google Shape;728;p2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9" name="Google Shape;729;p2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730" name="Google Shape;730;p2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731" name="Google Shape;731;p2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732" name="Google Shape;732;p2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733" name="Google Shape;733;p2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734" name="Google Shape;734;p22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5" name="Google Shape;735;p22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6" name="Google Shape;736;p22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7" name="Google Shape;737;p2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8" name="Google Shape;738;p2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9" name="Google Shape;739;p2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0" name="Google Shape;740;p2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1" name="Google Shape;741;p2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2" name="Google Shape;742;p2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3" name="Google Shape;743;p2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4" name="Google Shape;744;p2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5" name="Google Shape;745;p2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6" name="Google Shape;746;p2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7" name="Google Shape;747;p2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48" name="Google Shape;748;p2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20">
  <p:cSld name="Обложка 20">
    <p:bg>
      <p:bgPr>
        <a:solidFill>
          <a:schemeClr val="lt1"/>
        </a:solidFill>
        <a:effectLst/>
      </p:bgPr>
    </p:bg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23"/>
          <p:cNvSpPr txBox="1">
            <a:spLocks noGrp="1"/>
          </p:cNvSpPr>
          <p:nvPr>
            <p:ph type="ctrTitle"/>
          </p:nvPr>
        </p:nvSpPr>
        <p:spPr>
          <a:xfrm>
            <a:off x="323088" y="286255"/>
            <a:ext cx="6768592" cy="1444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23"/>
          <p:cNvSpPr txBox="1">
            <a:spLocks noGrp="1"/>
          </p:cNvSpPr>
          <p:nvPr>
            <p:ph type="body" idx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52" name="Google Shape;752;p23"/>
          <p:cNvSpPr txBox="1">
            <a:spLocks noGrp="1"/>
          </p:cNvSpPr>
          <p:nvPr>
            <p:ph type="body" idx="2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753" name="Google Shape;753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56136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754" name="Google Shape;754;p23"/>
          <p:cNvSpPr>
            <a:spLocks noGrp="1"/>
          </p:cNvSpPr>
          <p:nvPr>
            <p:ph type="pic" idx="3"/>
          </p:nvPr>
        </p:nvSpPr>
        <p:spPr>
          <a:xfrm>
            <a:off x="5151600" y="3429900"/>
            <a:ext cx="3992400" cy="1717201"/>
          </a:xfrm>
          <a:prstGeom prst="rect">
            <a:avLst/>
          </a:prstGeom>
          <a:noFill/>
          <a:ln>
            <a:noFill/>
          </a:ln>
        </p:spPr>
      </p:sp>
      <p:sp>
        <p:nvSpPr>
          <p:cNvPr id="755" name="Google Shape;755;p23"/>
          <p:cNvSpPr>
            <a:spLocks noGrp="1"/>
          </p:cNvSpPr>
          <p:nvPr>
            <p:ph type="pic" idx="4"/>
          </p:nvPr>
        </p:nvSpPr>
        <p:spPr>
          <a:xfrm>
            <a:off x="1717198" y="3429900"/>
            <a:ext cx="1717201" cy="1717201"/>
          </a:xfrm>
          <a:prstGeom prst="rect">
            <a:avLst/>
          </a:prstGeom>
          <a:noFill/>
          <a:ln>
            <a:noFill/>
          </a:ln>
        </p:spPr>
      </p:sp>
      <p:sp>
        <p:nvSpPr>
          <p:cNvPr id="756" name="Google Shape;756;p23"/>
          <p:cNvSpPr>
            <a:spLocks noGrp="1"/>
          </p:cNvSpPr>
          <p:nvPr>
            <p:ph type="pic" idx="5"/>
          </p:nvPr>
        </p:nvSpPr>
        <p:spPr>
          <a:xfrm>
            <a:off x="-1" y="3429900"/>
            <a:ext cx="1717200" cy="1717201"/>
          </a:xfrm>
          <a:prstGeom prst="rect">
            <a:avLst/>
          </a:prstGeom>
          <a:noFill/>
          <a:ln>
            <a:noFill/>
          </a:ln>
        </p:spPr>
      </p:sp>
      <p:sp>
        <p:nvSpPr>
          <p:cNvPr id="757" name="Google Shape;757;p23"/>
          <p:cNvSpPr>
            <a:spLocks noGrp="1"/>
          </p:cNvSpPr>
          <p:nvPr>
            <p:ph type="pic" idx="6"/>
          </p:nvPr>
        </p:nvSpPr>
        <p:spPr>
          <a:xfrm>
            <a:off x="3434398" y="3429900"/>
            <a:ext cx="1717202" cy="1717201"/>
          </a:xfrm>
          <a:prstGeom prst="rect">
            <a:avLst/>
          </a:prstGeom>
          <a:noFill/>
          <a:ln>
            <a:noFill/>
          </a:ln>
        </p:spPr>
      </p:sp>
      <p:sp>
        <p:nvSpPr>
          <p:cNvPr id="758" name="Google Shape;758;p23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9" name="Google Shape;759;p23"/>
          <p:cNvSpPr txBox="1">
            <a:spLocks noGrp="1"/>
          </p:cNvSpPr>
          <p:nvPr>
            <p:ph type="body" idx="7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760" name="Google Shape;760;p2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761" name="Google Shape;761;p23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62" name="Google Shape;762;p23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763" name="Google Shape;763;p23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764" name="Google Shape;764;p2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65" name="Google Shape;765;p2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766" name="Google Shape;766;p2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767" name="Google Shape;767;p2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768" name="Google Shape;768;p2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769" name="Google Shape;769;p2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770" name="Google Shape;770;p2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1" name="Google Shape;771;p23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2" name="Google Shape;772;p23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3" name="Google Shape;773;p23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4" name="Google Shape;774;p2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5" name="Google Shape;775;p2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6" name="Google Shape;776;p2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7" name="Google Shape;777;p2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8" name="Google Shape;778;p2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79" name="Google Shape;779;p2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0" name="Google Shape;780;p2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1" name="Google Shape;781;p2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2" name="Google Shape;782;p2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3" name="Google Shape;783;p2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84" name="Google Shape;784;p2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21">
  <p:cSld name="Обложка 21">
    <p:bg>
      <p:bgPr>
        <a:solidFill>
          <a:schemeClr val="lt1"/>
        </a:solidFill>
        <a:effectLst/>
      </p:bgPr>
    </p:bg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24"/>
          <p:cNvSpPr txBox="1">
            <a:spLocks noGrp="1"/>
          </p:cNvSpPr>
          <p:nvPr>
            <p:ph type="ctrTitle"/>
          </p:nvPr>
        </p:nvSpPr>
        <p:spPr>
          <a:xfrm>
            <a:off x="323088" y="288506"/>
            <a:ext cx="6768592" cy="1444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24"/>
          <p:cNvSpPr txBox="1">
            <a:spLocks noGrp="1"/>
          </p:cNvSpPr>
          <p:nvPr>
            <p:ph type="body" idx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788" name="Google Shape;788;p24"/>
          <p:cNvSpPr txBox="1">
            <a:spLocks noGrp="1"/>
          </p:cNvSpPr>
          <p:nvPr>
            <p:ph type="body" idx="2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789" name="Google Shape;789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356136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790" name="Google Shape;790;p24"/>
          <p:cNvSpPr>
            <a:spLocks noGrp="1"/>
          </p:cNvSpPr>
          <p:nvPr>
            <p:ph type="pic" idx="3"/>
          </p:nvPr>
        </p:nvSpPr>
        <p:spPr>
          <a:xfrm>
            <a:off x="5151600" y="3429900"/>
            <a:ext cx="39924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791" name="Google Shape;791;p24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92" name="Google Shape;792;p24"/>
          <p:cNvGrpSpPr/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793" name="Google Shape;793;p24"/>
            <p:cNvSpPr/>
            <p:nvPr/>
          </p:nvSpPr>
          <p:spPr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4" name="Google Shape;794;p24"/>
            <p:cNvSpPr/>
            <p:nvPr/>
          </p:nvSpPr>
          <p:spPr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5" name="Google Shape;795;p24"/>
            <p:cNvSpPr/>
            <p:nvPr/>
          </p:nvSpPr>
          <p:spPr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6" name="Google Shape;796;p24"/>
            <p:cNvSpPr/>
            <p:nvPr/>
          </p:nvSpPr>
          <p:spPr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97" name="Google Shape;797;p24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798" name="Google Shape;798;p24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9" name="Google Shape;799;p24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00" name="Google Shape;800;p24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801" name="Google Shape;801;p24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2" name="Google Shape;802;p24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03" name="Google Shape;803;p24"/>
          <p:cNvSpPr txBox="1">
            <a:spLocks noGrp="1"/>
          </p:cNvSpPr>
          <p:nvPr>
            <p:ph type="body" idx="4"/>
          </p:nvPr>
        </p:nvSpPr>
        <p:spPr>
          <a:xfrm>
            <a:off x="358775" y="1755830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804" name="Google Shape;804;p24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05" name="Google Shape;805;p2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06" name="Google Shape;806;p24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807" name="Google Shape;807;p24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08" name="Google Shape;808;p24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09" name="Google Shape;809;p2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810" name="Google Shape;810;p2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811" name="Google Shape;811;p2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812" name="Google Shape;812;p2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13" name="Google Shape;813;p2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14" name="Google Shape;814;p2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5" name="Google Shape;815;p2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6" name="Google Shape;816;p24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7" name="Google Shape;817;p24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8" name="Google Shape;818;p24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9" name="Google Shape;819;p2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0" name="Google Shape;820;p2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1" name="Google Shape;821;p2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2" name="Google Shape;822;p2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3" name="Google Shape;823;p2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4" name="Google Shape;824;p2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5" name="Google Shape;825;p2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6" name="Google Shape;826;p2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7" name="Google Shape;827;p2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8" name="Google Shape;828;p2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22">
  <p:cSld name="Обложка 22">
    <p:bg>
      <p:bgPr>
        <a:solidFill>
          <a:schemeClr val="lt1"/>
        </a:solidFill>
        <a:effectLst/>
      </p:bgPr>
    </p:bg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" name="Google Shape;830;p25"/>
          <p:cNvSpPr txBox="1">
            <a:spLocks noGrp="1"/>
          </p:cNvSpPr>
          <p:nvPr>
            <p:ph type="ctrTitle"/>
          </p:nvPr>
        </p:nvSpPr>
        <p:spPr>
          <a:xfrm>
            <a:off x="323088" y="1954275"/>
            <a:ext cx="8462137" cy="1163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1" name="Google Shape;831;p25"/>
          <p:cNvSpPr txBox="1">
            <a:spLocks noGrp="1"/>
          </p:cNvSpPr>
          <p:nvPr>
            <p:ph type="body" idx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32" name="Google Shape;832;p25"/>
          <p:cNvSpPr txBox="1">
            <a:spLocks noGrp="1"/>
          </p:cNvSpPr>
          <p:nvPr>
            <p:ph type="body" idx="2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33" name="Google Shape;833;p25"/>
          <p:cNvSpPr>
            <a:spLocks noGrp="1"/>
          </p:cNvSpPr>
          <p:nvPr>
            <p:ph type="pic" idx="3"/>
          </p:nvPr>
        </p:nvSpPr>
        <p:spPr>
          <a:xfrm>
            <a:off x="5140796" y="0"/>
            <a:ext cx="4003203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834" name="Google Shape;834;p25"/>
          <p:cNvSpPr>
            <a:spLocks noGrp="1"/>
          </p:cNvSpPr>
          <p:nvPr>
            <p:ph type="pic" idx="4"/>
          </p:nvPr>
        </p:nvSpPr>
        <p:spPr>
          <a:xfrm>
            <a:off x="1713599" y="0"/>
            <a:ext cx="1713600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835" name="Google Shape;835;p25"/>
          <p:cNvSpPr>
            <a:spLocks noGrp="1"/>
          </p:cNvSpPr>
          <p:nvPr>
            <p:ph type="pic" idx="5"/>
          </p:nvPr>
        </p:nvSpPr>
        <p:spPr>
          <a:xfrm>
            <a:off x="0" y="0"/>
            <a:ext cx="1713599" cy="1713600"/>
          </a:xfrm>
          <a:prstGeom prst="rect">
            <a:avLst/>
          </a:prstGeom>
          <a:noFill/>
          <a:ln>
            <a:noFill/>
          </a:ln>
        </p:spPr>
      </p:sp>
      <p:sp>
        <p:nvSpPr>
          <p:cNvPr id="836" name="Google Shape;836;p25"/>
          <p:cNvSpPr>
            <a:spLocks noGrp="1"/>
          </p:cNvSpPr>
          <p:nvPr>
            <p:ph type="pic" idx="6"/>
          </p:nvPr>
        </p:nvSpPr>
        <p:spPr>
          <a:xfrm>
            <a:off x="3427197" y="0"/>
            <a:ext cx="1713601" cy="171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37" name="Google Shape;837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28752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838" name="Google Shape;838;p25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9" name="Google Shape;839;p25"/>
          <p:cNvSpPr txBox="1">
            <a:spLocks noGrp="1"/>
          </p:cNvSpPr>
          <p:nvPr>
            <p:ph type="body" idx="7"/>
          </p:nvPr>
        </p:nvSpPr>
        <p:spPr>
          <a:xfrm>
            <a:off x="358775" y="3260267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840" name="Google Shape;840;p2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41" name="Google Shape;841;p2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42" name="Google Shape;842;p25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843" name="Google Shape;843;p25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44" name="Google Shape;844;p25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45" name="Google Shape;845;p25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846" name="Google Shape;846;p2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847" name="Google Shape;847;p2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848" name="Google Shape;848;p2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49" name="Google Shape;849;p2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50" name="Google Shape;850;p2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1" name="Google Shape;851;p2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2" name="Google Shape;852;p2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3" name="Google Shape;853;p25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4" name="Google Shape;854;p25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5" name="Google Shape;855;p25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6" name="Google Shape;856;p2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7" name="Google Shape;857;p2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8" name="Google Shape;858;p25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59" name="Google Shape;859;p2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0" name="Google Shape;860;p2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1" name="Google Shape;861;p2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2" name="Google Shape;862;p2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3" name="Google Shape;863;p2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64" name="Google Shape;864;p2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23">
  <p:cSld name="Обложка 23">
    <p:bg>
      <p:bgPr>
        <a:solidFill>
          <a:schemeClr val="lt1"/>
        </a:solidFill>
        <a:effectLst/>
      </p:bgPr>
    </p:bg>
    <p:spTree>
      <p:nvGrpSpPr>
        <p:cNvPr id="1" name="Shape 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Google Shape;866;p26"/>
          <p:cNvSpPr txBox="1">
            <a:spLocks noGrp="1"/>
          </p:cNvSpPr>
          <p:nvPr>
            <p:ph type="ctrTitle"/>
          </p:nvPr>
        </p:nvSpPr>
        <p:spPr>
          <a:xfrm>
            <a:off x="323087" y="1949554"/>
            <a:ext cx="8462137" cy="1226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26"/>
          <p:cNvSpPr txBox="1">
            <a:spLocks noGrp="1"/>
          </p:cNvSpPr>
          <p:nvPr>
            <p:ph type="body" idx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68" name="Google Shape;868;p26"/>
          <p:cNvSpPr txBox="1">
            <a:spLocks noGrp="1"/>
          </p:cNvSpPr>
          <p:nvPr>
            <p:ph type="body" idx="2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69" name="Google Shape;869;p26"/>
          <p:cNvSpPr>
            <a:spLocks noGrp="1"/>
          </p:cNvSpPr>
          <p:nvPr>
            <p:ph type="pic" idx="3"/>
          </p:nvPr>
        </p:nvSpPr>
        <p:spPr>
          <a:xfrm>
            <a:off x="5140796" y="0"/>
            <a:ext cx="4003203" cy="1713600"/>
          </a:xfrm>
          <a:prstGeom prst="rect">
            <a:avLst/>
          </a:prstGeom>
          <a:noFill/>
          <a:ln>
            <a:noFill/>
          </a:ln>
        </p:spPr>
      </p:sp>
      <p:pic>
        <p:nvPicPr>
          <p:cNvPr id="870" name="Google Shape;870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28752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26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72" name="Google Shape;872;p26"/>
          <p:cNvGrpSpPr/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873" name="Google Shape;873;p26"/>
            <p:cNvSpPr/>
            <p:nvPr/>
          </p:nvSpPr>
          <p:spPr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4" name="Google Shape;874;p26"/>
            <p:cNvSpPr/>
            <p:nvPr/>
          </p:nvSpPr>
          <p:spPr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5" name="Google Shape;875;p26"/>
            <p:cNvSpPr/>
            <p:nvPr/>
          </p:nvSpPr>
          <p:spPr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6" name="Google Shape;876;p26"/>
            <p:cNvSpPr/>
            <p:nvPr/>
          </p:nvSpPr>
          <p:spPr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77" name="Google Shape;877;p26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878" name="Google Shape;878;p2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79" name="Google Shape;879;p2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80" name="Google Shape;880;p26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881" name="Google Shape;881;p2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82" name="Google Shape;882;p26"/>
            <p:cNvSpPr/>
            <p:nvPr/>
          </p:nvSpPr>
          <p:spPr>
            <a:xfrm>
              <a:off x="7431300" y="1712699"/>
              <a:ext cx="1717200" cy="1718102"/>
            </a:xfrm>
            <a:custGeom>
              <a:avLst/>
              <a:gdLst/>
              <a:ahLst/>
              <a:cxnLst/>
              <a:rect l="l" t="t" r="r" b="b"/>
              <a:pathLst>
                <a:path w="1712700" h="1713600" extrusionOk="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83" name="Google Shape;883;p26"/>
          <p:cNvSpPr txBox="1">
            <a:spLocks noGrp="1"/>
          </p:cNvSpPr>
          <p:nvPr>
            <p:ph type="body" idx="4"/>
          </p:nvPr>
        </p:nvSpPr>
        <p:spPr>
          <a:xfrm>
            <a:off x="358775" y="3260267"/>
            <a:ext cx="673290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884" name="Google Shape;884;p2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5" name="Google Shape;885;p2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86" name="Google Shape;886;p26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887" name="Google Shape;887;p26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8" name="Google Shape;888;p26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89" name="Google Shape;889;p26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890" name="Google Shape;890;p26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891" name="Google Shape;891;p2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892" name="Google Shape;892;p2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93" name="Google Shape;893;p2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894" name="Google Shape;894;p2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5" name="Google Shape;895;p2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6" name="Google Shape;896;p2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7" name="Google Shape;897;p2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8" name="Google Shape;898;p26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99" name="Google Shape;899;p26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0" name="Google Shape;900;p26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1" name="Google Shape;901;p2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2" name="Google Shape;902;p2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3" name="Google Shape;903;p2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4" name="Google Shape;904;p2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5" name="Google Shape;905;p2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6" name="Google Shape;906;p2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7" name="Google Shape;907;p2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08" name="Google Shape;908;p2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0">
  <p:cSld name="Обложка 30">
    <p:bg>
      <p:bgPr>
        <a:solidFill>
          <a:schemeClr val="lt1"/>
        </a:solidFill>
        <a:effectLst/>
      </p:bgPr>
    </p:bg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27"/>
          <p:cNvSpPr>
            <a:spLocks noGrp="1"/>
          </p:cNvSpPr>
          <p:nvPr>
            <p:ph type="pic" idx="2"/>
          </p:nvPr>
        </p:nvSpPr>
        <p:spPr>
          <a:xfrm>
            <a:off x="0" y="1"/>
            <a:ext cx="6573598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</p:sp>
      <p:sp>
        <p:nvSpPr>
          <p:cNvPr id="911" name="Google Shape;911;p27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12" name="Google Shape;912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3" name="Google Shape;913;p27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4" name="Google Shape;914;p27"/>
          <p:cNvSpPr>
            <a:spLocks noGrp="1"/>
          </p:cNvSpPr>
          <p:nvPr>
            <p:ph type="pic" idx="3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915" name="Google Shape;915;p27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" name="Google Shape;916;p27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17" name="Google Shape;917;p27"/>
          <p:cNvSpPr txBox="1">
            <a:spLocks noGrp="1"/>
          </p:cNvSpPr>
          <p:nvPr>
            <p:ph type="body" idx="4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18" name="Google Shape;918;p27"/>
          <p:cNvSpPr txBox="1">
            <a:spLocks noGrp="1"/>
          </p:cNvSpPr>
          <p:nvPr>
            <p:ph type="body" idx="5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919" name="Google Shape;919;p2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20" name="Google Shape;920;p2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21" name="Google Shape;921;p27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922" name="Google Shape;922;p27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23" name="Google Shape;923;p2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4" name="Google Shape;924;p27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925" name="Google Shape;925;p27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926" name="Google Shape;926;p27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927" name="Google Shape;927;p2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28" name="Google Shape;928;p2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29" name="Google Shape;929;p2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0" name="Google Shape;930;p2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1" name="Google Shape;931;p2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2" name="Google Shape;932;p2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3" name="Google Shape;933;p2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4" name="Google Shape;934;p27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5" name="Google Shape;935;p27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6" name="Google Shape;936;p2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7" name="Google Shape;937;p2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8" name="Google Shape;938;p2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9" name="Google Shape;939;p2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0" name="Google Shape;940;p2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2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2" name="Google Shape;942;p2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3" name="Google Shape;943;p2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1">
  <p:cSld name="Обложка 31">
    <p:bg>
      <p:bgPr>
        <a:solidFill>
          <a:schemeClr val="lt1"/>
        </a:solidFill>
        <a:effectLst/>
      </p:bgPr>
    </p:bg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28"/>
          <p:cNvSpPr>
            <a:spLocks noGrp="1"/>
          </p:cNvSpPr>
          <p:nvPr>
            <p:ph type="pic" idx="2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946" name="Google Shape;946;p28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28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48" name="Google Shape;948;p28"/>
          <p:cNvSpPr txBox="1">
            <a:spLocks noGrp="1"/>
          </p:cNvSpPr>
          <p:nvPr>
            <p:ph type="body" idx="3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49" name="Google Shape;949;p28"/>
          <p:cNvSpPr txBox="1">
            <a:spLocks noGrp="1"/>
          </p:cNvSpPr>
          <p:nvPr>
            <p:ph type="body" idx="4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950" name="Google Shape;950;p2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51" name="Google Shape;951;p2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52" name="Google Shape;952;p28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953" name="Google Shape;953;p2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54" name="Google Shape;954;p2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5" name="Google Shape;955;p2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956" name="Google Shape;956;p28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957" name="Google Shape;957;p28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958" name="Google Shape;958;p28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59" name="Google Shape;959;p2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60" name="Google Shape;960;p2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1" name="Google Shape;961;p2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2" name="Google Shape;962;p2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3" name="Google Shape;963;p2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4" name="Google Shape;964;p2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5" name="Google Shape;965;p2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6" name="Google Shape;966;p2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7" name="Google Shape;967;p2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8" name="Google Shape;968;p2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9" name="Google Shape;969;p2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0" name="Google Shape;970;p2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1" name="Google Shape;971;p2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2" name="Google Shape;972;p2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3" name="Google Shape;973;p2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4" name="Google Shape;974;p2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5" name="Google Shape;975;p28"/>
          <p:cNvSpPr txBox="1"/>
          <p:nvPr/>
        </p:nvSpPr>
        <p:spPr>
          <a:xfrm>
            <a:off x="1965288" y="427329"/>
            <a:ext cx="1548000" cy="162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500" rIns="0" bIns="0" anchor="t" anchorCtr="0">
            <a:spAutoFit/>
          </a:bodyPr>
          <a:lstStyle/>
          <a:p>
            <a:pPr marL="5776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82" b="1">
                <a:solidFill>
                  <a:srgbClr val="008B95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82" b="1">
              <a:solidFill>
                <a:srgbClr val="008C9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6" name="Google Shape;976;p28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 extrusionOk="0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 extrusionOk="0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 extrusionOk="0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 extrusionOk="0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 extrusionOk="0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" name="Google Shape;977;p28"/>
          <p:cNvSpPr>
            <a:spLocks noGrp="1"/>
          </p:cNvSpPr>
          <p:nvPr>
            <p:ph type="pic" idx="5"/>
          </p:nvPr>
        </p:nvSpPr>
        <p:spPr>
          <a:xfrm>
            <a:off x="6573601" y="2573100"/>
            <a:ext cx="2570399" cy="25704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transition spd="slow">
    <p:fade thruBlk="1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2">
  <p:cSld name="Обложка 32">
    <p:bg>
      <p:bgPr>
        <a:solidFill>
          <a:schemeClr val="lt1"/>
        </a:solidFill>
        <a:effectLst/>
      </p:bgPr>
    </p:bg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29"/>
          <p:cNvSpPr/>
          <p:nvPr/>
        </p:nvSpPr>
        <p:spPr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0" name="Google Shape;980;p29"/>
          <p:cNvSpPr>
            <a:spLocks noGrp="1"/>
          </p:cNvSpPr>
          <p:nvPr>
            <p:ph type="pic" idx="2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981" name="Google Shape;981;p29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" name="Google Shape;982;p29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83" name="Google Shape;983;p29"/>
          <p:cNvSpPr txBox="1">
            <a:spLocks noGrp="1"/>
          </p:cNvSpPr>
          <p:nvPr>
            <p:ph type="body" idx="3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984" name="Google Shape;984;p29"/>
          <p:cNvSpPr txBox="1">
            <a:spLocks noGrp="1"/>
          </p:cNvSpPr>
          <p:nvPr>
            <p:ph type="body" idx="4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985" name="Google Shape;985;p2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6" name="Google Shape;986;p2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87" name="Google Shape;987;p29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988" name="Google Shape;988;p2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89" name="Google Shape;989;p2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0" name="Google Shape;990;p2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991" name="Google Shape;991;p2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992" name="Google Shape;992;p29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993" name="Google Shape;993;p29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94" name="Google Shape;994;p29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95" name="Google Shape;995;p2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6" name="Google Shape;996;p2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7" name="Google Shape;997;p2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8" name="Google Shape;998;p2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9" name="Google Shape;999;p2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0" name="Google Shape;1000;p2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1" name="Google Shape;1001;p2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2" name="Google Shape;1002;p2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3" name="Google Shape;1003;p2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4" name="Google Shape;1004;p2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" name="Google Shape;1005;p2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6" name="Google Shape;1006;p2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7" name="Google Shape;1007;p2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8" name="Google Shape;1008;p2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9" name="Google Shape;1009;p2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0" name="Google Shape;1010;p29"/>
          <p:cNvSpPr txBox="1"/>
          <p:nvPr/>
        </p:nvSpPr>
        <p:spPr>
          <a:xfrm>
            <a:off x="1965288" y="427329"/>
            <a:ext cx="1548000" cy="162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500" rIns="0" bIns="0" anchor="t" anchorCtr="0">
            <a:spAutoFit/>
          </a:bodyPr>
          <a:lstStyle/>
          <a:p>
            <a:pPr marL="5776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82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82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1" name="Google Shape;1011;p29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 extrusionOk="0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 extrusionOk="0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 extrusionOk="0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 extrusionOk="0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 extrusionOk="0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" name="Google Shape;1012;p29"/>
          <p:cNvSpPr>
            <a:spLocks noGrp="1"/>
          </p:cNvSpPr>
          <p:nvPr>
            <p:ph type="pic" idx="5"/>
          </p:nvPr>
        </p:nvSpPr>
        <p:spPr>
          <a:xfrm>
            <a:off x="6573601" y="2573100"/>
            <a:ext cx="2570399" cy="25704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transition spd="slow">
    <p:fade thruBlk="1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3">
  <p:cSld name="Обложка 33">
    <p:bg>
      <p:bgPr>
        <a:solidFill>
          <a:schemeClr val="lt1"/>
        </a:solidFill>
        <a:effectLst/>
      </p:bgPr>
    </p:bg>
    <p:spTree>
      <p:nvGrpSpPr>
        <p:cNvPr id="1" name="Shape 10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" name="Google Shape;1014;p30"/>
          <p:cNvSpPr/>
          <p:nvPr/>
        </p:nvSpPr>
        <p:spPr>
          <a:xfrm>
            <a:off x="0" y="0"/>
            <a:ext cx="6573598" cy="5144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5" name="Google Shape;1015;p30"/>
          <p:cNvSpPr>
            <a:spLocks noGrp="1"/>
          </p:cNvSpPr>
          <p:nvPr>
            <p:ph type="pic" idx="2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1016" name="Google Shape;1016;p30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" name="Google Shape;1017;p30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18" name="Google Shape;1018;p30"/>
          <p:cNvSpPr txBox="1">
            <a:spLocks noGrp="1"/>
          </p:cNvSpPr>
          <p:nvPr>
            <p:ph type="body" idx="3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19" name="Google Shape;1019;p30"/>
          <p:cNvSpPr txBox="1">
            <a:spLocks noGrp="1"/>
          </p:cNvSpPr>
          <p:nvPr>
            <p:ph type="body" idx="4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020" name="Google Shape;1020;p30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021" name="Google Shape;1021;p3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22" name="Google Shape;1022;p30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23" name="Google Shape;1023;p3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24" name="Google Shape;1024;p3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" name="Google Shape;1025;p3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026" name="Google Shape;1026;p3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027" name="Google Shape;1027;p3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028" name="Google Shape;1028;p30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029" name="Google Shape;1029;p30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030" name="Google Shape;1030;p30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1" name="Google Shape;1031;p3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" name="Google Shape;1032;p3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" name="Google Shape;1033;p3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4" name="Google Shape;1034;p3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5" name="Google Shape;1035;p3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6" name="Google Shape;1036;p3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" name="Google Shape;1037;p3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" name="Google Shape;1038;p3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" name="Google Shape;1039;p3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" name="Google Shape;1040;p3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" name="Google Shape;1041;p3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2" name="Google Shape;1042;p3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" name="Google Shape;1043;p3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4" name="Google Shape;1044;p3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5" name="Google Shape;1045;p30"/>
          <p:cNvSpPr txBox="1"/>
          <p:nvPr/>
        </p:nvSpPr>
        <p:spPr>
          <a:xfrm>
            <a:off x="1965288" y="427329"/>
            <a:ext cx="1548000" cy="162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500" rIns="0" bIns="0" anchor="t" anchorCtr="0">
            <a:spAutoFit/>
          </a:bodyPr>
          <a:lstStyle/>
          <a:p>
            <a:pPr marL="5776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82" b="1">
                <a:solidFill>
                  <a:srgbClr val="008B95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82" b="1">
              <a:solidFill>
                <a:srgbClr val="008C9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6" name="Google Shape;1046;p30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 extrusionOk="0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 extrusionOk="0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 extrusionOk="0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 extrusionOk="0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 extrusionOk="0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7" name="Google Shape;1047;p30"/>
          <p:cNvSpPr>
            <a:spLocks noGrp="1"/>
          </p:cNvSpPr>
          <p:nvPr>
            <p:ph type="pic" idx="5"/>
          </p:nvPr>
        </p:nvSpPr>
        <p:spPr>
          <a:xfrm>
            <a:off x="6573601" y="2573100"/>
            <a:ext cx="2570399" cy="25704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transition spd="slow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1">
  <p:cSld name="Обложка 01">
    <p:bg>
      <p:bgPr>
        <a:solidFill>
          <a:schemeClr val="lt1"/>
        </a:solidFill>
        <a:effectLst/>
      </p:bgPr>
    </p:bg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4"/>
          <p:cNvSpPr txBox="1">
            <a:spLocks noGrp="1"/>
          </p:cNvSpPr>
          <p:nvPr>
            <p:ph type="ctrTitle"/>
          </p:nvPr>
        </p:nvSpPr>
        <p:spPr>
          <a:xfrm>
            <a:off x="323087" y="290286"/>
            <a:ext cx="8462137" cy="2072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4"/>
          <p:cNvSpPr txBox="1">
            <a:spLocks noGrp="1"/>
          </p:cNvSpPr>
          <p:nvPr>
            <p:ph type="body" idx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84" name="Google Shape;84;p4"/>
          <p:cNvSpPr txBox="1">
            <a:spLocks noGrp="1"/>
          </p:cNvSpPr>
          <p:nvPr>
            <p:ph type="body" idx="2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85" name="Google Shape;85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68220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4"/>
          <p:cNvSpPr txBox="1">
            <a:spLocks noGrp="1"/>
          </p:cNvSpPr>
          <p:nvPr>
            <p:ph type="body" idx="3"/>
          </p:nvPr>
        </p:nvSpPr>
        <p:spPr>
          <a:xfrm>
            <a:off x="358775" y="2536019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87" name="Google Shape;87;p4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Google Shape;88;p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9" name="Google Shape;89;p4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90" name="Google Shape;90;p4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Google Shape;91;p4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2" name="Google Shape;92;p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93" name="Google Shape;93;p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94" name="Google Shape;94;p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95" name="Google Shape;95;p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6" name="Google Shape;96;p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97" name="Google Shape;97;p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98;p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" name="Google Shape;99;p4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" name="Google Shape;100;p4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" name="Google Shape;101;p4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102;p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103;p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" name="Google Shape;104;p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" name="Google Shape;105;p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" name="Google Shape;106;p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" name="Google Shape;107;p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108;p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" name="Google Shape;109;p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" name="Google Shape;110;p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" name="Google Shape;111;p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4">
  <p:cSld name="Обложка 34">
    <p:bg>
      <p:bgPr>
        <a:solidFill>
          <a:schemeClr val="lt1"/>
        </a:solidFill>
        <a:effectLst/>
      </p:bgPr>
    </p:bg>
    <p:spTree>
      <p:nvGrpSpPr>
        <p:cNvPr id="1" name="Shape 1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" name="Google Shape;1049;p31"/>
          <p:cNvSpPr>
            <a:spLocks noGrp="1"/>
          </p:cNvSpPr>
          <p:nvPr>
            <p:ph type="pic" idx="2"/>
          </p:nvPr>
        </p:nvSpPr>
        <p:spPr>
          <a:xfrm>
            <a:off x="0" y="1"/>
            <a:ext cx="9144000" cy="41904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1050" name="Google Shape;1050;p31"/>
          <p:cNvSpPr>
            <a:spLocks noGrp="1"/>
          </p:cNvSpPr>
          <p:nvPr>
            <p:ph type="pic" idx="3"/>
          </p:nvPr>
        </p:nvSpPr>
        <p:spPr>
          <a:xfrm>
            <a:off x="6279043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051" name="Google Shape;1051;p31"/>
          <p:cNvSpPr txBox="1">
            <a:spLocks noGrp="1"/>
          </p:cNvSpPr>
          <p:nvPr>
            <p:ph type="ctrTitle"/>
          </p:nvPr>
        </p:nvSpPr>
        <p:spPr>
          <a:xfrm>
            <a:off x="335573" y="312376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31"/>
          <p:cNvSpPr txBox="1">
            <a:spLocks noGrp="1"/>
          </p:cNvSpPr>
          <p:nvPr>
            <p:ph type="body" idx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53" name="Google Shape;1053;p31"/>
          <p:cNvSpPr txBox="1">
            <a:spLocks noGrp="1"/>
          </p:cNvSpPr>
          <p:nvPr>
            <p:ph type="body" idx="4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54" name="Google Shape;1054;p31"/>
          <p:cNvSpPr txBox="1">
            <a:spLocks noGrp="1"/>
          </p:cNvSpPr>
          <p:nvPr>
            <p:ph type="body" idx="5"/>
          </p:nvPr>
        </p:nvSpPr>
        <p:spPr>
          <a:xfrm>
            <a:off x="358776" y="2470548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055" name="Google Shape;1055;p31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056" name="Google Shape;1056;p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57" name="Google Shape;1057;p31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58" name="Google Shape;1058;p3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59" name="Google Shape;1059;p3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" name="Google Shape;1060;p3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061" name="Google Shape;1061;p3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062" name="Google Shape;1062;p3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063" name="Google Shape;1063;p3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064" name="Google Shape;1064;p31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065" name="Google Shape;1065;p31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" name="Google Shape;1066;p31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7" name="Google Shape;1067;p3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8" name="Google Shape;1068;p3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9" name="Google Shape;1069;p3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" name="Google Shape;1070;p3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1" name="Google Shape;1071;p3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" name="Google Shape;1072;p3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" name="Google Shape;1073;p3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" name="Google Shape;1074;p3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5" name="Google Shape;1075;p3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" name="Google Shape;1076;p3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7" name="Google Shape;1077;p3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8" name="Google Shape;1078;p3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9" name="Google Shape;1079;p3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0" name="Google Shape;1080;p31"/>
          <p:cNvSpPr>
            <a:spLocks noGrp="1"/>
          </p:cNvSpPr>
          <p:nvPr>
            <p:ph type="pic" idx="6"/>
          </p:nvPr>
        </p:nvSpPr>
        <p:spPr>
          <a:xfrm>
            <a:off x="7234521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081" name="Google Shape;1081;p31"/>
          <p:cNvSpPr>
            <a:spLocks noGrp="1"/>
          </p:cNvSpPr>
          <p:nvPr>
            <p:ph type="pic" idx="7"/>
          </p:nvPr>
        </p:nvSpPr>
        <p:spPr>
          <a:xfrm>
            <a:off x="8190000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082" name="Google Shape;1082;p31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 extrusionOk="0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 extrusionOk="0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 extrusionOk="0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 extrusionOk="0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 extrusionOk="0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3" name="Google Shape;1083;p31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5776" marR="0" lvl="0" indent="0" algn="l" rtl="0">
              <a:lnSpc>
                <a:spcPct val="11674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33">
                <a:solidFill>
                  <a:srgbClr val="008B95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433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5">
  <p:cSld name="Обложка 35">
    <p:bg>
      <p:bgPr>
        <a:solidFill>
          <a:schemeClr val="lt1"/>
        </a:solidFill>
        <a:effectLst/>
      </p:bgPr>
    </p:bg>
    <p:spTree>
      <p:nvGrpSpPr>
        <p:cNvPr id="1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" name="Google Shape;1085;p32"/>
          <p:cNvSpPr>
            <a:spLocks noGrp="1"/>
          </p:cNvSpPr>
          <p:nvPr>
            <p:ph type="pic" idx="2"/>
          </p:nvPr>
        </p:nvSpPr>
        <p:spPr>
          <a:xfrm>
            <a:off x="0" y="1"/>
            <a:ext cx="9144000" cy="4190400"/>
          </a:xfrm>
          <a:prstGeom prst="rect">
            <a:avLst/>
          </a:prstGeom>
          <a:solidFill>
            <a:schemeClr val="dk2"/>
          </a:solidFill>
          <a:ln>
            <a:noFill/>
          </a:ln>
        </p:spPr>
      </p:sp>
      <p:sp>
        <p:nvSpPr>
          <p:cNvPr id="1086" name="Google Shape;1086;p32"/>
          <p:cNvSpPr>
            <a:spLocks noGrp="1"/>
          </p:cNvSpPr>
          <p:nvPr>
            <p:ph type="pic" idx="3"/>
          </p:nvPr>
        </p:nvSpPr>
        <p:spPr>
          <a:xfrm>
            <a:off x="6279043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087" name="Google Shape;1087;p32"/>
          <p:cNvSpPr txBox="1">
            <a:spLocks noGrp="1"/>
          </p:cNvSpPr>
          <p:nvPr>
            <p:ph type="ctrTitle"/>
          </p:nvPr>
        </p:nvSpPr>
        <p:spPr>
          <a:xfrm>
            <a:off x="335573" y="312376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32"/>
          <p:cNvSpPr txBox="1">
            <a:spLocks noGrp="1"/>
          </p:cNvSpPr>
          <p:nvPr>
            <p:ph type="body" idx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89" name="Google Shape;1089;p32"/>
          <p:cNvSpPr txBox="1">
            <a:spLocks noGrp="1"/>
          </p:cNvSpPr>
          <p:nvPr>
            <p:ph type="body" idx="4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090" name="Google Shape;1090;p32"/>
          <p:cNvSpPr txBox="1">
            <a:spLocks noGrp="1"/>
          </p:cNvSpPr>
          <p:nvPr>
            <p:ph type="body" idx="5"/>
          </p:nvPr>
        </p:nvSpPr>
        <p:spPr>
          <a:xfrm>
            <a:off x="358776" y="2470548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091" name="Google Shape;1091;p3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092" name="Google Shape;1092;p32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93" name="Google Shape;1093;p32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094" name="Google Shape;1094;p3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95" name="Google Shape;1095;p3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" name="Google Shape;1096;p3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097" name="Google Shape;1097;p3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098" name="Google Shape;1098;p3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099" name="Google Shape;1099;p3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100" name="Google Shape;1100;p3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101" name="Google Shape;1101;p32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" name="Google Shape;1102;p32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3" name="Google Shape;1103;p32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4" name="Google Shape;1104;p3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5" name="Google Shape;1105;p3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" name="Google Shape;1106;p3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" name="Google Shape;1107;p3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" name="Google Shape;1108;p3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" name="Google Shape;1109;p3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" name="Google Shape;1110;p3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1" name="Google Shape;1111;p3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" name="Google Shape;1112;p3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3" name="Google Shape;1113;p3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" name="Google Shape;1114;p3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5" name="Google Shape;1115;p3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16" name="Google Shape;1116;p32"/>
          <p:cNvSpPr>
            <a:spLocks noGrp="1"/>
          </p:cNvSpPr>
          <p:nvPr>
            <p:ph type="pic" idx="6"/>
          </p:nvPr>
        </p:nvSpPr>
        <p:spPr>
          <a:xfrm>
            <a:off x="7234521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117" name="Google Shape;1117;p32"/>
          <p:cNvSpPr>
            <a:spLocks noGrp="1"/>
          </p:cNvSpPr>
          <p:nvPr>
            <p:ph type="pic" idx="7"/>
          </p:nvPr>
        </p:nvSpPr>
        <p:spPr>
          <a:xfrm>
            <a:off x="8190000" y="4189500"/>
            <a:ext cx="954000" cy="954000"/>
          </a:xfrm>
          <a:prstGeom prst="rect">
            <a:avLst/>
          </a:prstGeom>
          <a:noFill/>
          <a:ln>
            <a:noFill/>
          </a:ln>
        </p:spPr>
      </p:sp>
      <p:sp>
        <p:nvSpPr>
          <p:cNvPr id="1118" name="Google Shape;1118;p3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 extrusionOk="0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 extrusionOk="0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 extrusionOk="0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 extrusionOk="0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 extrusionOk="0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5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" name="Google Shape;1119;p32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5776" marR="0" lvl="0" indent="0" algn="l" rtl="0">
              <a:lnSpc>
                <a:spcPct val="11674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33">
                <a:solidFill>
                  <a:srgbClr val="008B95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433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0">
  <p:cSld name="1_Обложка 30">
    <p:bg>
      <p:bgPr>
        <a:solidFill>
          <a:schemeClr val="lt1"/>
        </a:solidFill>
        <a:effectLst/>
      </p:bgPr>
    </p:bg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33"/>
          <p:cNvSpPr>
            <a:spLocks noGrp="1"/>
          </p:cNvSpPr>
          <p:nvPr>
            <p:ph type="pic" idx="2"/>
          </p:nvPr>
        </p:nvSpPr>
        <p:spPr>
          <a:xfrm>
            <a:off x="0" y="1"/>
            <a:ext cx="6573598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</p:sp>
      <p:sp>
        <p:nvSpPr>
          <p:cNvPr id="1122" name="Google Shape;1122;p33"/>
          <p:cNvSpPr>
            <a:spLocks noGrp="1"/>
          </p:cNvSpPr>
          <p:nvPr>
            <p:ph type="pic" idx="3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1123" name="Google Shape;1123;p33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24" name="Google Shape;1124;p33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25" name="Google Shape;1125;p33"/>
          <p:cNvSpPr txBox="1">
            <a:spLocks noGrp="1"/>
          </p:cNvSpPr>
          <p:nvPr>
            <p:ph type="body" idx="4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26" name="Google Shape;1126;p33"/>
          <p:cNvSpPr txBox="1">
            <a:spLocks noGrp="1"/>
          </p:cNvSpPr>
          <p:nvPr>
            <p:ph type="body" idx="5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27" name="Google Shape;1127;p3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Arial"/>
              <a:buNone/>
              <a:defRPr sz="13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>
  <p:cSld name="Заголовок и объект">
    <p:spTree>
      <p:nvGrpSpPr>
        <p:cNvPr id="1" name="Shape 1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" name="Google Shape;1129;p34"/>
          <p:cNvSpPr txBox="1">
            <a:spLocks noGrp="1"/>
          </p:cNvSpPr>
          <p:nvPr>
            <p:ph type="title"/>
          </p:nvPr>
        </p:nvSpPr>
        <p:spPr>
          <a:xfrm>
            <a:off x="457200" y="866140"/>
            <a:ext cx="8229600" cy="44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55247A"/>
              </a:buClr>
              <a:buSzPts val="2400"/>
              <a:buFont typeface="Calibri"/>
              <a:buNone/>
              <a:defRPr sz="2400">
                <a:solidFill>
                  <a:srgbClr val="55247A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34"/>
          <p:cNvSpPr txBox="1">
            <a:spLocks noGrp="1"/>
          </p:cNvSpPr>
          <p:nvPr>
            <p:ph type="body" idx="1"/>
          </p:nvPr>
        </p:nvSpPr>
        <p:spPr>
          <a:xfrm>
            <a:off x="457200" y="1396699"/>
            <a:ext cx="8229600" cy="31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228600" algn="l">
              <a:spcBef>
                <a:spcPts val="200"/>
              </a:spcBef>
              <a:spcAft>
                <a:spcPts val="0"/>
              </a:spcAft>
              <a:buClr>
                <a:srgbClr val="3F3F3F"/>
              </a:buClr>
              <a:buSzPts val="1100"/>
              <a:buNone/>
              <a:defRPr sz="110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Clr>
                <a:srgbClr val="3F3F3F"/>
              </a:buClr>
              <a:buSzPts val="1100"/>
              <a:buNone/>
              <a:defRPr sz="110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Clr>
                <a:srgbClr val="3F3F3F"/>
              </a:buClr>
              <a:buSzPts val="1100"/>
              <a:buNone/>
              <a:defRPr sz="110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Clr>
                <a:srgbClr val="3F3F3F"/>
              </a:buClr>
              <a:buSzPts val="1100"/>
              <a:buNone/>
              <a:defRPr sz="110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Clr>
                <a:srgbClr val="3F3F3F"/>
              </a:buClr>
              <a:buSzPts val="1100"/>
              <a:buNone/>
              <a:defRPr sz="1100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17500" algn="l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6pPr>
            <a:lvl7pPr marL="3200400" lvl="6" indent="-3175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7pPr>
            <a:lvl8pPr marL="3657600" lvl="7" indent="-3175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8pPr>
            <a:lvl9pPr marL="4114800" lvl="8" indent="-3175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9pPr>
          </a:lstStyle>
          <a:p>
            <a:endParaRPr/>
          </a:p>
        </p:txBody>
      </p:sp>
      <p:sp>
        <p:nvSpPr>
          <p:cNvPr id="1131" name="Google Shape;1131;p34"/>
          <p:cNvSpPr txBox="1">
            <a:spLocks noGrp="1"/>
          </p:cNvSpPr>
          <p:nvPr>
            <p:ph type="dt" idx="10"/>
          </p:nvPr>
        </p:nvSpPr>
        <p:spPr>
          <a:xfrm>
            <a:off x="457200" y="4767263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2" name="Google Shape;1132;p34"/>
          <p:cNvSpPr txBox="1">
            <a:spLocks noGrp="1"/>
          </p:cNvSpPr>
          <p:nvPr>
            <p:ph type="ftr" idx="11"/>
          </p:nvPr>
        </p:nvSpPr>
        <p:spPr>
          <a:xfrm>
            <a:off x="3124200" y="4767263"/>
            <a:ext cx="2895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3" name="Google Shape;1133;p34"/>
          <p:cNvSpPr txBox="1">
            <a:spLocks noGrp="1"/>
          </p:cNvSpPr>
          <p:nvPr>
            <p:ph type="sldNum" idx="12"/>
          </p:nvPr>
        </p:nvSpPr>
        <p:spPr>
          <a:xfrm>
            <a:off x="6553200" y="4767263"/>
            <a:ext cx="21336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Команда 1">
  <p:cSld name="Команда 1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35"/>
          <p:cNvSpPr txBox="1"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35"/>
          <p:cNvSpPr txBox="1">
            <a:spLocks noGrp="1"/>
          </p:cNvSpPr>
          <p:nvPr>
            <p:ph type="sldNum" idx="12"/>
          </p:nvPr>
        </p:nvSpPr>
        <p:spPr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137" name="Google Shape;1137;p35"/>
          <p:cNvSpPr txBox="1">
            <a:spLocks noGrp="1"/>
          </p:cNvSpPr>
          <p:nvPr>
            <p:ph type="ftr" idx="11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8" name="Google Shape;1138;p35"/>
          <p:cNvSpPr txBox="1">
            <a:spLocks noGrp="1"/>
          </p:cNvSpPr>
          <p:nvPr>
            <p:ph type="dt" idx="10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/>
            </a:lvl9pPr>
          </a:lstStyle>
          <a:p>
            <a:endParaRPr/>
          </a:p>
        </p:txBody>
      </p:sp>
      <p:sp>
        <p:nvSpPr>
          <p:cNvPr id="1139" name="Google Shape;1139;p35"/>
          <p:cNvSpPr>
            <a:spLocks noGrp="1"/>
          </p:cNvSpPr>
          <p:nvPr>
            <p:ph type="pic" idx="2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  <a:noFill/>
          <a:ln>
            <a:noFill/>
          </a:ln>
        </p:spPr>
      </p:sp>
      <p:sp>
        <p:nvSpPr>
          <p:cNvPr id="1140" name="Google Shape;1140;p35"/>
          <p:cNvSpPr txBox="1">
            <a:spLocks noGrp="1"/>
          </p:cNvSpPr>
          <p:nvPr>
            <p:ph type="body" idx="1"/>
          </p:nvPr>
        </p:nvSpPr>
        <p:spPr>
          <a:xfrm>
            <a:off x="4061171" y="2064543"/>
            <a:ext cx="2034830" cy="1554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0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9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</p:spPr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47420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 01">
  <p:cSld name="Только заголовок 01">
    <p:spTree>
      <p:nvGrpSpPr>
        <p:cNvPr id="1" name="Shape 1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" name="Google Shape;1172;p37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" name="Google Shape;1174;p37"/>
          <p:cNvSpPr txBox="1">
            <a:spLocks noGrp="1"/>
          </p:cNvSpPr>
          <p:nvPr>
            <p:ph type="ftr" idx="11"/>
          </p:nvPr>
        </p:nvSpPr>
        <p:spPr>
          <a:xfrm>
            <a:off x="28943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75" name="Google Shape;1175;p37"/>
          <p:cNvSpPr txBox="1">
            <a:spLocks noGrp="1"/>
          </p:cNvSpPr>
          <p:nvPr>
            <p:ph type="sldNum" idx="12"/>
          </p:nvPr>
        </p:nvSpPr>
        <p:spPr>
          <a:xfrm>
            <a:off x="8466142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slow">
    <p:fade thruBlk="1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вободный слайд">
  <p:cSld name="Свободный слайд"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" name="Google Shape;1178;p38"/>
          <p:cNvSpPr txBox="1">
            <a:spLocks noGrp="1"/>
          </p:cNvSpPr>
          <p:nvPr>
            <p:ph type="ftr" idx="11"/>
          </p:nvPr>
        </p:nvSpPr>
        <p:spPr>
          <a:xfrm>
            <a:off x="29303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79" name="Google Shape;1179;p38"/>
          <p:cNvSpPr txBox="1">
            <a:spLocks noGrp="1"/>
          </p:cNvSpPr>
          <p:nvPr>
            <p:ph type="sldNum" idx="12"/>
          </p:nvPr>
        </p:nvSpPr>
        <p:spPr>
          <a:xfrm>
            <a:off x="8466142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slow">
    <p:fade thruBlk="1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 02">
  <p:cSld name="Только заголовок 02"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" name="Google Shape;1181;p39"/>
          <p:cNvSpPr/>
          <p:nvPr/>
        </p:nvSpPr>
        <p:spPr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" name="Google Shape;1182;p39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39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" name="Google Shape;1184;p39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5" name="Google Shape;1185;p39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 03">
  <p:cSld name="Только заголовок 03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" name="Google Shape;1187;p40"/>
          <p:cNvSpPr/>
          <p:nvPr/>
        </p:nvSpPr>
        <p:spPr>
          <a:xfrm>
            <a:off x="0" y="0"/>
            <a:ext cx="9144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8" name="Google Shape;1188;p40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9" name="Google Shape;1189;p40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40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40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2">
  <p:cSld name="Обложка 02">
    <p:bg>
      <p:bgPr>
        <a:solidFill>
          <a:schemeClr val="lt1"/>
        </a:solidFill>
        <a:effectLst/>
      </p:bgPr>
    </p:bg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5"/>
          <p:cNvSpPr/>
          <p:nvPr/>
        </p:nvSpPr>
        <p:spPr>
          <a:xfrm>
            <a:off x="3999600" y="0"/>
            <a:ext cx="5144400" cy="5144400"/>
          </a:xfrm>
          <a:custGeom>
            <a:avLst/>
            <a:gdLst/>
            <a:ahLst/>
            <a:cxnLst/>
            <a:rect l="l" t="t" r="r" b="b"/>
            <a:pathLst>
              <a:path w="5132824" h="5144399" extrusionOk="0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" name="Google Shape;114;p5"/>
          <p:cNvSpPr txBox="1">
            <a:spLocks noGrp="1"/>
          </p:cNvSpPr>
          <p:nvPr>
            <p:ph type="ctrTitle"/>
          </p:nvPr>
        </p:nvSpPr>
        <p:spPr>
          <a:xfrm>
            <a:off x="323087" y="294289"/>
            <a:ext cx="8462137" cy="2068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5"/>
          <p:cNvSpPr txBox="1">
            <a:spLocks noGrp="1"/>
          </p:cNvSpPr>
          <p:nvPr>
            <p:ph type="body" idx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16" name="Google Shape;116;p5"/>
          <p:cNvSpPr txBox="1">
            <a:spLocks noGrp="1"/>
          </p:cNvSpPr>
          <p:nvPr>
            <p:ph type="body" idx="2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117" name="Google Shape;117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68220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5"/>
          <p:cNvSpPr txBox="1">
            <a:spLocks noGrp="1"/>
          </p:cNvSpPr>
          <p:nvPr>
            <p:ph type="body" idx="3"/>
          </p:nvPr>
        </p:nvSpPr>
        <p:spPr>
          <a:xfrm>
            <a:off x="358775" y="2536019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19" name="Google Shape;119;p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20" name="Google Shape;120;p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1" name="Google Shape;121;p5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22" name="Google Shape;122;p5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23" name="Google Shape;123;p5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4" name="Google Shape;124;p5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25" name="Google Shape;125;p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26" name="Google Shape;126;p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27" name="Google Shape;127;p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28" name="Google Shape;128;p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29" name="Google Shape;129;p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0" name="Google Shape;130;p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1" name="Google Shape;131;p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" name="Google Shape;132;p5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" name="Google Shape;133;p5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" name="Google Shape;134;p5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5" name="Google Shape;135;p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6" name="Google Shape;136;p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7" name="Google Shape;137;p5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8" name="Google Shape;138;p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9" name="Google Shape;139;p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0" name="Google Shape;140;p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1" name="Google Shape;141;p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2" name="Google Shape;142;p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3" name="Google Shape;143;p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 04">
  <p:cSld name="Только заголовок 04">
    <p:spTree>
      <p:nvGrpSpPr>
        <p:cNvPr id="1" name="Shape 1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" name="Google Shape;1193;p41"/>
          <p:cNvSpPr/>
          <p:nvPr/>
        </p:nvSpPr>
        <p:spPr>
          <a:xfrm>
            <a:off x="0" y="0"/>
            <a:ext cx="9144000" cy="455136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4" name="Google Shape;1194;p41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5" name="Google Shape;1195;p41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" name="Google Shape;1196;p41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7" name="Google Shape;1197;p41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1">
  <p:cSld name="Две области 01"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9" name="Google Shape;1199;p42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0" name="Google Shape;1200;p42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1" name="Google Shape;1201;p42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2" name="Google Shape;1202;p42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03" name="Google Shape;1203;p42"/>
          <p:cNvSpPr/>
          <p:nvPr/>
        </p:nvSpPr>
        <p:spPr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2">
  <p:cSld name="Две области 02"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43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43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43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8" name="Google Shape;1208;p43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09" name="Google Shape;1209;p43"/>
          <p:cNvSpPr/>
          <p:nvPr/>
        </p:nvSpPr>
        <p:spPr>
          <a:xfrm>
            <a:off x="6096000" y="0"/>
            <a:ext cx="3048000" cy="455136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3">
  <p:cSld name="Две области 03">
    <p:spTree>
      <p:nvGrpSpPr>
        <p:cNvPr id="1" name="Shape 1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" name="Google Shape;1211;p44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44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" name="Google Shape;1213;p44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4" name="Google Shape;1214;p44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15" name="Google Shape;1215;p44"/>
          <p:cNvSpPr/>
          <p:nvPr/>
        </p:nvSpPr>
        <p:spPr>
          <a:xfrm>
            <a:off x="6096000" y="0"/>
            <a:ext cx="3048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4">
  <p:cSld name="Две области 04">
    <p:spTree>
      <p:nvGrpSpPr>
        <p:cNvPr id="1" name="Shape 1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" name="Google Shape;1217;p45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8" name="Google Shape;1218;p45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45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45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21" name="Google Shape;1221;p45"/>
          <p:cNvSpPr/>
          <p:nvPr/>
        </p:nvSpPr>
        <p:spPr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5">
  <p:cSld name="Две области 05">
    <p:spTree>
      <p:nvGrpSpPr>
        <p:cNvPr id="1" name="Shape 1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3" name="Google Shape;1223;p46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4" name="Google Shape;1224;p46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5" name="Google Shape;1225;p46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" name="Google Shape;1226;p46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27" name="Google Shape;1227;p46"/>
          <p:cNvSpPr/>
          <p:nvPr/>
        </p:nvSpPr>
        <p:spPr>
          <a:xfrm>
            <a:off x="6096000" y="1131888"/>
            <a:ext cx="3048000" cy="341947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6">
  <p:cSld name="Две области 06">
    <p:spTree>
      <p:nvGrpSpPr>
        <p:cNvPr id="1" name="Shape 1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" name="Google Shape;1229;p47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0" name="Google Shape;1230;p47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1" name="Google Shape;1231;p47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2" name="Google Shape;1232;p47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33" name="Google Shape;1233;p47"/>
          <p:cNvSpPr/>
          <p:nvPr/>
        </p:nvSpPr>
        <p:spPr>
          <a:xfrm>
            <a:off x="6096000" y="1131888"/>
            <a:ext cx="3048000" cy="341947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7">
  <p:cSld name="Две области 07">
    <p:spTree>
      <p:nvGrpSpPr>
        <p:cNvPr id="1" name="Shape 1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5" name="Google Shape;1235;p48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48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7" name="Google Shape;1237;p48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48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39" name="Google Shape;1239;p48"/>
          <p:cNvSpPr/>
          <p:nvPr/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8">
  <p:cSld name="Две области 08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49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2" name="Google Shape;1242;p49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3" name="Google Shape;1243;p49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4" name="Google Shape;1244;p49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45" name="Google Shape;1245;p49"/>
          <p:cNvSpPr/>
          <p:nvPr/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09">
  <p:cSld name="Две области 0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50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8" name="Google Shape;1248;p50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50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0" name="Google Shape;1250;p50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51" name="Google Shape;1251;p50"/>
          <p:cNvSpPr/>
          <p:nvPr/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3">
  <p:cSld name="Обложка 03">
    <p:bg>
      <p:bgPr>
        <a:solidFill>
          <a:schemeClr val="accent1"/>
        </a:solidFill>
        <a:effectLst/>
      </p:bgPr>
    </p:bg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6"/>
          <p:cNvSpPr txBox="1">
            <a:spLocks noGrp="1"/>
          </p:cNvSpPr>
          <p:nvPr>
            <p:ph type="ctrTitle"/>
          </p:nvPr>
        </p:nvSpPr>
        <p:spPr>
          <a:xfrm>
            <a:off x="323087" y="261257"/>
            <a:ext cx="8462137" cy="21019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6"/>
          <p:cNvSpPr txBox="1">
            <a:spLocks noGrp="1"/>
          </p:cNvSpPr>
          <p:nvPr>
            <p:ph type="body" idx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47" name="Google Shape;147;p6"/>
          <p:cNvSpPr txBox="1">
            <a:spLocks noGrp="1"/>
          </p:cNvSpPr>
          <p:nvPr>
            <p:ph type="body" idx="2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148" name="Google Shape;148;p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68220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49" name="Google Shape;149;p6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6"/>
          <p:cNvSpPr txBox="1">
            <a:spLocks noGrp="1"/>
          </p:cNvSpPr>
          <p:nvPr>
            <p:ph type="body" idx="3"/>
          </p:nvPr>
        </p:nvSpPr>
        <p:spPr>
          <a:xfrm>
            <a:off x="358775" y="2536019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51" name="Google Shape;151;p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52" name="Google Shape;152;p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53" name="Google Shape;153;p6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54" name="Google Shape;154;p6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55" name="Google Shape;155;p6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6" name="Google Shape;156;p6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57" name="Google Shape;157;p6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58" name="Google Shape;158;p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59" name="Google Shape;159;p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60" name="Google Shape;160;p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61" name="Google Shape;161;p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2" name="Google Shape;162;p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3" name="Google Shape;163;p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4" name="Google Shape;164;p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5" name="Google Shape;165;p6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6" name="Google Shape;166;p6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7" name="Google Shape;167;p6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8" name="Google Shape;168;p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9" name="Google Shape;169;p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0" name="Google Shape;170;p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1" name="Google Shape;171;p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2" name="Google Shape;172;p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3" name="Google Shape;173;p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4" name="Google Shape;174;p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75" name="Google Shape;175;p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0">
  <p:cSld name="Две области 10"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" name="Google Shape;1253;p51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4" name="Google Shape;1254;p51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5" name="Google Shape;1255;p51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6" name="Google Shape;1256;p51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57" name="Google Shape;1257;p51"/>
          <p:cNvSpPr/>
          <p:nvPr/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1">
  <p:cSld name="Две области 11">
    <p:spTree>
      <p:nvGrpSpPr>
        <p:cNvPr id="1" name="Shape 1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" name="Google Shape;1259;p52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0" name="Google Shape;1260;p52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52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2" name="Google Shape;1262;p52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63" name="Google Shape;1263;p52"/>
          <p:cNvSpPr/>
          <p:nvPr/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2">
  <p:cSld name="Две области 12"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5" name="Google Shape;1265;p53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6" name="Google Shape;1266;p53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53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" name="Google Shape;1268;p53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69" name="Google Shape;1269;p53"/>
          <p:cNvSpPr/>
          <p:nvPr/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3">
  <p:cSld name="Две области 13">
    <p:spTree>
      <p:nvGrpSpPr>
        <p:cNvPr id="1" name="Shape 1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" name="Google Shape;1271;p54"/>
          <p:cNvSpPr txBox="1"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" name="Google Shape;1272;p54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3" name="Google Shape;1273;p54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54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75" name="Google Shape;1275;p54"/>
          <p:cNvSpPr/>
          <p:nvPr/>
        </p:nvSpPr>
        <p:spPr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4">
  <p:cSld name="Две области 14">
    <p:spTree>
      <p:nvGrpSpPr>
        <p:cNvPr id="1" name="Shape 1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7" name="Google Shape;1277;p55"/>
          <p:cNvSpPr txBox="1"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55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9" name="Google Shape;1279;p55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55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81" name="Google Shape;1281;p55"/>
          <p:cNvSpPr/>
          <p:nvPr/>
        </p:nvSpPr>
        <p:spPr>
          <a:xfrm>
            <a:off x="0" y="0"/>
            <a:ext cx="3048000" cy="455136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5">
  <p:cSld name="Две области 15">
    <p:spTree>
      <p:nvGrpSpPr>
        <p:cNvPr id="1" name="Shape 1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3" name="Google Shape;1283;p56"/>
          <p:cNvSpPr txBox="1"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4" name="Google Shape;1284;p56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5" name="Google Shape;1285;p56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6" name="Google Shape;1286;p56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87" name="Google Shape;1287;p56"/>
          <p:cNvSpPr/>
          <p:nvPr/>
        </p:nvSpPr>
        <p:spPr>
          <a:xfrm>
            <a:off x="0" y="0"/>
            <a:ext cx="3048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6">
  <p:cSld name="Две области 16">
    <p:spTree>
      <p:nvGrpSpPr>
        <p:cNvPr id="1" name="Shape 1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Google Shape;1289;p57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57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1" name="Google Shape;1291;p57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92" name="Google Shape;1292;p57"/>
          <p:cNvSpPr/>
          <p:nvPr/>
        </p:nvSpPr>
        <p:spPr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3" name="Google Shape;1293;p57"/>
          <p:cNvSpPr txBox="1"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7">
  <p:cSld name="Две области 17">
    <p:spTree>
      <p:nvGrpSpPr>
        <p:cNvPr id="1" name="Shape 1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5" name="Google Shape;1295;p58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58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7" name="Google Shape;1297;p58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298" name="Google Shape;1298;p58"/>
          <p:cNvSpPr/>
          <p:nvPr/>
        </p:nvSpPr>
        <p:spPr>
          <a:xfrm>
            <a:off x="0" y="0"/>
            <a:ext cx="4572000" cy="4551363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9" name="Google Shape;1299;p58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е области 18">
  <p:cSld name="Две области 18">
    <p:spTree>
      <p:nvGrpSpPr>
        <p:cNvPr id="1" name="Shape 1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1" name="Google Shape;1301;p59"/>
          <p:cNvSpPr txBox="1">
            <a:spLocks noGrp="1"/>
          </p:cNvSpPr>
          <p:nvPr>
            <p:ph type="dt" idx="10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2" name="Google Shape;1302;p59"/>
          <p:cNvSpPr txBox="1">
            <a:spLocks noGrp="1"/>
          </p:cNvSpPr>
          <p:nvPr>
            <p:ph type="ftr" idx="11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59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/>
            </a:lvl1pPr>
            <a:lvl2pPr marL="0" lvl="1" indent="0" algn="l">
              <a:spcBef>
                <a:spcPts val="0"/>
              </a:spcBef>
              <a:buNone/>
              <a:defRPr/>
            </a:lvl2pPr>
            <a:lvl3pPr marL="0" lvl="2" indent="0" algn="l">
              <a:spcBef>
                <a:spcPts val="0"/>
              </a:spcBef>
              <a:buNone/>
              <a:defRPr/>
            </a:lvl3pPr>
            <a:lvl4pPr marL="0" lvl="3" indent="0" algn="l">
              <a:spcBef>
                <a:spcPts val="0"/>
              </a:spcBef>
              <a:buNone/>
              <a:defRPr/>
            </a:lvl4pPr>
            <a:lvl5pPr marL="0" lvl="4" indent="0" algn="l">
              <a:spcBef>
                <a:spcPts val="0"/>
              </a:spcBef>
              <a:buNone/>
              <a:defRPr/>
            </a:lvl5pPr>
            <a:lvl6pPr marL="0" lvl="5" indent="0" algn="l">
              <a:spcBef>
                <a:spcPts val="0"/>
              </a:spcBef>
              <a:buNone/>
              <a:defRPr/>
            </a:lvl6pPr>
            <a:lvl7pPr marL="0" lvl="6" indent="0" algn="l">
              <a:spcBef>
                <a:spcPts val="0"/>
              </a:spcBef>
              <a:buNone/>
              <a:defRPr/>
            </a:lvl7pPr>
            <a:lvl8pPr marL="0" lvl="7" indent="0" algn="l">
              <a:spcBef>
                <a:spcPts val="0"/>
              </a:spcBef>
              <a:buNone/>
              <a:defRPr/>
            </a:lvl8pPr>
            <a:lvl9pPr marL="0" lvl="8" indent="0" algn="l">
              <a:spcBef>
                <a:spcPts val="0"/>
              </a:spcBef>
              <a:buNone/>
              <a:defRPr/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  <p:sp>
        <p:nvSpPr>
          <p:cNvPr id="1304" name="Google Shape;1304;p59"/>
          <p:cNvSpPr/>
          <p:nvPr/>
        </p:nvSpPr>
        <p:spPr>
          <a:xfrm>
            <a:off x="0" y="0"/>
            <a:ext cx="4572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5" name="Google Shape;1305;p59"/>
          <p:cNvSpPr txBox="1">
            <a:spLocks noGrp="1"/>
          </p:cNvSpPr>
          <p:nvPr>
            <p:ph type="body" idx="1"/>
          </p:nvPr>
        </p:nvSpPr>
        <p:spPr>
          <a:xfrm>
            <a:off x="358775" y="347883"/>
            <a:ext cx="4035425" cy="67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</p:spTree>
  </p:cSld>
  <p:clrMapOvr>
    <a:masterClrMapping/>
  </p:clrMapOvr>
  <p:transition spd="slow">
    <p:fade thruBlk="1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30">
  <p:cSld name="Обложка 30">
    <p:bg>
      <p:bgPr>
        <a:solidFill>
          <a:schemeClr val="lt1"/>
        </a:solidFill>
        <a:effectLst/>
      </p:bgPr>
    </p:bg>
    <p:spTree>
      <p:nvGrpSpPr>
        <p:cNvPr id="1" name="Shape 1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7" name="Google Shape;1307;p60"/>
          <p:cNvSpPr>
            <a:spLocks noGrp="1"/>
          </p:cNvSpPr>
          <p:nvPr>
            <p:ph type="pic" idx="2"/>
          </p:nvPr>
        </p:nvSpPr>
        <p:spPr>
          <a:xfrm>
            <a:off x="0" y="1"/>
            <a:ext cx="6573598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</p:sp>
      <p:sp>
        <p:nvSpPr>
          <p:cNvPr id="1308" name="Google Shape;1308;p60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09" name="Google Shape;1309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10" name="Google Shape;1310;p60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1" name="Google Shape;1311;p60"/>
          <p:cNvSpPr>
            <a:spLocks noGrp="1"/>
          </p:cNvSpPr>
          <p:nvPr>
            <p:ph type="pic" idx="3"/>
          </p:nvPr>
        </p:nvSpPr>
        <p:spPr>
          <a:xfrm>
            <a:off x="6573600" y="0"/>
            <a:ext cx="2570400" cy="2570400"/>
          </a:xfrm>
          <a:prstGeom prst="rect">
            <a:avLst/>
          </a:prstGeom>
          <a:noFill/>
          <a:ln>
            <a:noFill/>
          </a:ln>
        </p:spPr>
      </p:sp>
      <p:sp>
        <p:nvSpPr>
          <p:cNvPr id="1312" name="Google Shape;1312;p60"/>
          <p:cNvSpPr txBox="1">
            <a:spLocks noGrp="1"/>
          </p:cNvSpPr>
          <p:nvPr>
            <p:ph type="ctrTitle"/>
          </p:nvPr>
        </p:nvSpPr>
        <p:spPr>
          <a:xfrm>
            <a:off x="335573" y="1682928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60"/>
          <p:cNvSpPr txBox="1">
            <a:spLocks noGrp="1"/>
          </p:cNvSpPr>
          <p:nvPr>
            <p:ph type="body" idx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314" name="Google Shape;1314;p60"/>
          <p:cNvSpPr txBox="1">
            <a:spLocks noGrp="1"/>
          </p:cNvSpPr>
          <p:nvPr>
            <p:ph type="body" idx="4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315" name="Google Shape;1315;p60"/>
          <p:cNvSpPr txBox="1">
            <a:spLocks noGrp="1"/>
          </p:cNvSpPr>
          <p:nvPr>
            <p:ph type="body" idx="5"/>
          </p:nvPr>
        </p:nvSpPr>
        <p:spPr>
          <a:xfrm>
            <a:off x="358776" y="3411402"/>
            <a:ext cx="5879250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60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316" name="Google Shape;1316;p60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317" name="Google Shape;1317;p6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318" name="Google Shape;1318;p60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319" name="Google Shape;1319;p6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320" name="Google Shape;1320;p6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1" name="Google Shape;1321;p6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322" name="Google Shape;1322;p6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323" name="Google Shape;1323;p6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324" name="Google Shape;1324;p60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325" name="Google Shape;1325;p60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326" name="Google Shape;1326;p60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7" name="Google Shape;1327;p6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8" name="Google Shape;1328;p6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9" name="Google Shape;1329;p6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0" name="Google Shape;1330;p6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1" name="Google Shape;1331;p6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2" name="Google Shape;1332;p6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3" name="Google Shape;1333;p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4" name="Google Shape;1334;p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5" name="Google Shape;1335;p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6" name="Google Shape;1336;p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7" name="Google Shape;1337;p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8" name="Google Shape;1338;p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39" name="Google Shape;1339;p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0" name="Google Shape;1340;p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341" name="Google Shape;1341;p60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42" name="Google Shape;1342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343" name="Google Shape;1343;p60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4">
  <p:cSld name="Обложка 04">
    <p:bg>
      <p:bgPr>
        <a:solidFill>
          <a:schemeClr val="dk2"/>
        </a:solidFill>
        <a:effectLst/>
      </p:bgPr>
    </p:bg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7"/>
          <p:cNvSpPr txBox="1">
            <a:spLocks noGrp="1"/>
          </p:cNvSpPr>
          <p:nvPr>
            <p:ph type="ctrTitle"/>
          </p:nvPr>
        </p:nvSpPr>
        <p:spPr>
          <a:xfrm>
            <a:off x="323087" y="290286"/>
            <a:ext cx="8462137" cy="2072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7"/>
          <p:cNvSpPr txBox="1">
            <a:spLocks noGrp="1"/>
          </p:cNvSpPr>
          <p:nvPr>
            <p:ph type="body" idx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179" name="Google Shape;179;p7"/>
          <p:cNvSpPr txBox="1">
            <a:spLocks noGrp="1"/>
          </p:cNvSpPr>
          <p:nvPr>
            <p:ph type="body" idx="2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180" name="Google Shape;180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68220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181" name="Google Shape;181;p7"/>
          <p:cNvSpPr txBox="1">
            <a:spLocks noGrp="1"/>
          </p:cNvSpPr>
          <p:nvPr>
            <p:ph type="body" idx="3"/>
          </p:nvPr>
        </p:nvSpPr>
        <p:spPr>
          <a:xfrm>
            <a:off x="358775" y="2536019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182" name="Google Shape;182;p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83" name="Google Shape;183;p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84" name="Google Shape;184;p7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185" name="Google Shape;185;p7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86" name="Google Shape;186;p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87" name="Google Shape;187;p7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188" name="Google Shape;188;p7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189" name="Google Shape;189;p7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190" name="Google Shape;190;p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91" name="Google Shape;191;p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192" name="Google Shape;192;p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3" name="Google Shape;193;p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4" name="Google Shape;194;p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5" name="Google Shape;195;p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6" name="Google Shape;196;p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7" name="Google Shape;197;p7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8" name="Google Shape;198;p7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99" name="Google Shape;199;p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0" name="Google Shape;200;p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1" name="Google Shape;201;p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2" name="Google Shape;202;p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3" name="Google Shape;203;p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4" name="Google Shape;204;p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5" name="Google Shape;205;p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06" name="Google Shape;206;p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5">
  <p:cSld name="Обложка 05">
    <p:bg>
      <p:bgPr>
        <a:solidFill>
          <a:schemeClr val="dk2"/>
        </a:solidFill>
        <a:effectLst/>
      </p:bgPr>
    </p:bg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8"/>
          <p:cNvSpPr/>
          <p:nvPr/>
        </p:nvSpPr>
        <p:spPr>
          <a:xfrm>
            <a:off x="3999600" y="0"/>
            <a:ext cx="5144400" cy="5144400"/>
          </a:xfrm>
          <a:custGeom>
            <a:avLst/>
            <a:gdLst/>
            <a:ahLst/>
            <a:cxnLst/>
            <a:rect l="l" t="t" r="r" b="b"/>
            <a:pathLst>
              <a:path w="5132824" h="5144399" extrusionOk="0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9" name="Google Shape;209;p8"/>
          <p:cNvSpPr txBox="1">
            <a:spLocks noGrp="1"/>
          </p:cNvSpPr>
          <p:nvPr>
            <p:ph type="ctrTitle"/>
          </p:nvPr>
        </p:nvSpPr>
        <p:spPr>
          <a:xfrm>
            <a:off x="323087" y="304800"/>
            <a:ext cx="8462137" cy="2058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8"/>
          <p:cNvSpPr txBox="1">
            <a:spLocks noGrp="1"/>
          </p:cNvSpPr>
          <p:nvPr>
            <p:ph type="body" idx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211" name="Google Shape;211;p8"/>
          <p:cNvSpPr txBox="1">
            <a:spLocks noGrp="1"/>
          </p:cNvSpPr>
          <p:nvPr>
            <p:ph type="body" idx="2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212" name="Google Shape;212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637145" y="4682200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213" name="Google Shape;213;p8"/>
          <p:cNvSpPr txBox="1">
            <a:spLocks noGrp="1"/>
          </p:cNvSpPr>
          <p:nvPr>
            <p:ph type="body" idx="3"/>
          </p:nvPr>
        </p:nvSpPr>
        <p:spPr>
          <a:xfrm>
            <a:off x="358775" y="2536019"/>
            <a:ext cx="8426449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>
                <a:solidFill>
                  <a:srgbClr val="FFFFFF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214" name="Google Shape;214;p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215" name="Google Shape;215;p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16" name="Google Shape;216;p8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17" name="Google Shape;217;p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218" name="Google Shape;218;p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19" name="Google Shape;219;p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220" name="Google Shape;220;p8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221" name="Google Shape;221;p8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222" name="Google Shape;222;p8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23" name="Google Shape;223;p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24" name="Google Shape;224;p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5" name="Google Shape;225;p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6" name="Google Shape;226;p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7" name="Google Shape;227;p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8" name="Google Shape;228;p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29" name="Google Shape;229;p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0" name="Google Shape;230;p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1" name="Google Shape;231;p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2" name="Google Shape;232;p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3" name="Google Shape;233;p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4" name="Google Shape;234;p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5" name="Google Shape;235;p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6" name="Google Shape;236;p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7" name="Google Shape;237;p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8" name="Google Shape;238;p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6">
  <p:cSld name="Обложка 06">
    <p:bg>
      <p:bgPr>
        <a:solidFill>
          <a:schemeClr val="lt1"/>
        </a:solidFill>
        <a:effectLst/>
      </p:bgPr>
    </p:bg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9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1" name="Google Shape;241;p9"/>
          <p:cNvSpPr txBox="1">
            <a:spLocks noGrp="1"/>
          </p:cNvSpPr>
          <p:nvPr>
            <p:ph type="ctrTitle"/>
          </p:nvPr>
        </p:nvSpPr>
        <p:spPr>
          <a:xfrm>
            <a:off x="316992" y="290286"/>
            <a:ext cx="5908549" cy="990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" name="Google Shape;242;p9"/>
          <p:cNvSpPr txBox="1">
            <a:spLocks noGrp="1"/>
          </p:cNvSpPr>
          <p:nvPr>
            <p:ph type="body" idx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243" name="Google Shape;243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244" name="Google Shape;244;p9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5" name="Google Shape;245;p9"/>
          <p:cNvSpPr>
            <a:spLocks noGrp="1"/>
          </p:cNvSpPr>
          <p:nvPr>
            <p:ph type="pic" idx="2"/>
          </p:nvPr>
        </p:nvSpPr>
        <p:spPr>
          <a:xfrm>
            <a:off x="0" y="2573149"/>
            <a:ext cx="6561138" cy="2570351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46" name="Google Shape;246;p9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247" name="Google Shape;247;p9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8" name="Google Shape;248;p9"/>
            <p:cNvSpPr/>
            <p:nvPr/>
          </p:nvSpPr>
          <p:spPr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49" name="Google Shape;249;p9"/>
          <p:cNvSpPr txBox="1">
            <a:spLocks noGrp="1"/>
          </p:cNvSpPr>
          <p:nvPr>
            <p:ph type="body" idx="3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250" name="Google Shape;250;p9"/>
          <p:cNvSpPr txBox="1">
            <a:spLocks noGrp="1"/>
          </p:cNvSpPr>
          <p:nvPr>
            <p:ph type="body" idx="4"/>
          </p:nvPr>
        </p:nvSpPr>
        <p:spPr>
          <a:xfrm>
            <a:off x="358775" y="1334779"/>
            <a:ext cx="586676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251" name="Google Shape;251;p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252" name="Google Shape;252;p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53" name="Google Shape;253;p9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54" name="Google Shape;254;p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255" name="Google Shape;255;p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6" name="Google Shape;256;p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257" name="Google Shape;257;p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258" name="Google Shape;258;p9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259" name="Google Shape;259;p9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60" name="Google Shape;260;p9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61" name="Google Shape;261;p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2" name="Google Shape;262;p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3" name="Google Shape;263;p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4" name="Google Shape;264;p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5" name="Google Shape;265;p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6" name="Google Shape;266;p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7" name="Google Shape;267;p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8" name="Google Shape;268;p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69" name="Google Shape;269;p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0" name="Google Shape;270;p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1" name="Google Shape;271;p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2" name="Google Shape;272;p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3" name="Google Shape;273;p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4" name="Google Shape;274;p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75" name="Google Shape;275;p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Обложка 07">
  <p:cSld name="Обложка 07">
    <p:bg>
      <p:bgPr>
        <a:solidFill>
          <a:schemeClr val="lt1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10"/>
          <p:cNvSpPr/>
          <p:nvPr/>
        </p:nvSpPr>
        <p:spPr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10"/>
          <p:cNvSpPr txBox="1">
            <a:spLocks noGrp="1"/>
          </p:cNvSpPr>
          <p:nvPr>
            <p:ph type="ctrTitle"/>
          </p:nvPr>
        </p:nvSpPr>
        <p:spPr>
          <a:xfrm>
            <a:off x="323088" y="290286"/>
            <a:ext cx="5902453" cy="990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7200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4000" b="0" i="0" u="non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9" name="Google Shape;279;p10"/>
          <p:cNvSpPr txBox="1">
            <a:spLocks noGrp="1"/>
          </p:cNvSpPr>
          <p:nvPr>
            <p:ph type="body" idx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200"/>
              <a:buNone/>
              <a:defRPr sz="1200" b="0"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sp>
        <p:nvSpPr>
          <p:cNvPr id="280" name="Google Shape;280;p10"/>
          <p:cNvSpPr txBox="1">
            <a:spLocks noGrp="1"/>
          </p:cNvSpPr>
          <p:nvPr>
            <p:ph type="body" idx="2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000"/>
              <a:buNone/>
              <a:defRPr sz="1000">
                <a:solidFill>
                  <a:schemeClr val="lt1"/>
                </a:solidFill>
              </a:defRPr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pic>
        <p:nvPicPr>
          <p:cNvPr id="281" name="Google Shape;281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249044" y="4302594"/>
            <a:ext cx="1104679" cy="208800"/>
          </a:xfrm>
          <a:prstGeom prst="rect">
            <a:avLst/>
          </a:prstGeom>
          <a:noFill/>
          <a:ln>
            <a:noFill/>
          </a:ln>
        </p:spPr>
      </p:pic>
      <p:sp>
        <p:nvSpPr>
          <p:cNvPr id="282" name="Google Shape;282;p10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артнеры для роста</a:t>
            </a:r>
            <a:endParaRPr sz="11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3" name="Google Shape;283;p10"/>
          <p:cNvSpPr>
            <a:spLocks noGrp="1"/>
          </p:cNvSpPr>
          <p:nvPr>
            <p:ph type="pic" idx="3"/>
          </p:nvPr>
        </p:nvSpPr>
        <p:spPr>
          <a:xfrm>
            <a:off x="0" y="2573149"/>
            <a:ext cx="6573598" cy="2570351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4" name="Google Shape;284;p10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285" name="Google Shape;285;p10"/>
            <p:cNvSpPr/>
            <p:nvPr/>
          </p:nvSpPr>
          <p:spPr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6" name="Google Shape;286;p10"/>
            <p:cNvSpPr/>
            <p:nvPr/>
          </p:nvSpPr>
          <p:spPr>
            <a:xfrm>
              <a:off x="6573600" y="0"/>
              <a:ext cx="2570400" cy="2570400"/>
            </a:xfrm>
            <a:custGeom>
              <a:avLst/>
              <a:gdLst/>
              <a:ahLst/>
              <a:cxnLst/>
              <a:rect l="l" t="t" r="r" b="b"/>
              <a:pathLst>
                <a:path w="5132824" h="5144399" extrusionOk="0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7" name="Google Shape;287;p10"/>
          <p:cNvSpPr txBox="1">
            <a:spLocks noGrp="1"/>
          </p:cNvSpPr>
          <p:nvPr>
            <p:ph type="body" idx="4"/>
          </p:nvPr>
        </p:nvSpPr>
        <p:spPr>
          <a:xfrm>
            <a:off x="358775" y="1334779"/>
            <a:ext cx="586676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marL="1371600" lvl="2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marL="1828800" lvl="3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marL="2286000" lvl="4" indent="-228600" algn="l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SzPts val="1800"/>
              <a:buChar char="▪"/>
              <a:defRPr/>
            </a:lvl9pPr>
          </a:lstStyle>
          <a:p>
            <a:endParaRPr/>
          </a:p>
        </p:txBody>
      </p:sp>
      <p:grpSp>
        <p:nvGrpSpPr>
          <p:cNvPr id="288" name="Google Shape;288;p10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289" name="Google Shape;289;p1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48000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ации </a:t>
              </a:r>
              <a:b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1200" b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о оформлению слайдов</a:t>
              </a:r>
              <a:endParaRPr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Корп.шрифт для презентаций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Arial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(</a:t>
              </a:r>
              <a:r>
                <a:rPr lang="ru-RU" sz="800" b="0" i="1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опустимо:</a:t>
              </a: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 Arial Narrow)</a:t>
              </a:r>
              <a:endParaRPr/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Заголовок слайда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6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Текст на слайде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10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Примечания – </a:t>
              </a: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ниже 8 пт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66698" marR="0" lvl="4" indent="-88899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на слайд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3 размеров шрифтов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ИАГРАММЫ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единый стиль оформления диаграмм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шрифты одинакового размера в диаграммах, располагающихся на одном слайде</a:t>
              </a:r>
              <a:endParaRPr/>
            </a:p>
            <a:p>
              <a:pPr marL="266698" marR="0" lvl="1" indent="-79374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а одном слайде – не более 4 диаграмм</a:t>
              </a:r>
              <a:endParaRPr/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КИ</a:t>
              </a:r>
              <a:endParaRPr/>
            </a:p>
            <a:p>
              <a:pPr marL="266698" marR="0" lvl="1" indent="-84137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Выбирайте оформление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конок в едином стиле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ЗОБРАЖЕНИЯ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льзя искажать пропорции</a:t>
              </a:r>
              <a:endParaRPr/>
            </a:p>
            <a:p>
              <a:pPr marL="266698" marR="0" lvl="1" indent="-84137" algn="l" rtl="0"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Рекомендуемое разрешение –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не более 150 пикселей на дюйм</a:t>
              </a: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182561" marR="0" lvl="0" indent="-182561" algn="l" rtl="0">
                <a:lnSpc>
                  <a:spcPct val="100000"/>
                </a:lnSpc>
                <a:spcBef>
                  <a:spcPts val="11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AutoNum type="arabicPeriod"/>
              </a:pPr>
              <a:r>
                <a:rPr lang="ru-RU" sz="800" b="1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ОБЩИЕ РЕКОМЕНДАЦИИ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кажите «нет» презентациям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с большим количеством текста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спользуйте простые схемы </a:t>
              </a:r>
              <a:b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и графику</a:t>
              </a:r>
              <a:endParaRPr/>
            </a:p>
            <a:p>
              <a:pPr marL="266698" marR="0" lvl="1" indent="-92074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lt1"/>
                </a:buClr>
                <a:buSzPts val="800"/>
                <a:buFont typeface="Arial"/>
                <a:buChar char="•"/>
              </a:pPr>
              <a:r>
                <a:rPr lang="ru-RU" sz="8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Делайте слайды лаконичными</a:t>
              </a:r>
              <a:endParaRPr/>
            </a:p>
            <a:p>
              <a:pPr marL="572142" marR="0" lvl="1" indent="-131761" algn="l" rtl="0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290" name="Google Shape;290;p10"/>
            <p:cNvCxnSpPr/>
            <p:nvPr/>
          </p:nvCxnSpPr>
          <p:spPr>
            <a:xfrm>
              <a:off x="9753602" y="444502"/>
              <a:ext cx="2051050" cy="0"/>
            </a:xfrm>
            <a:prstGeom prst="straightConnector1">
              <a:avLst/>
            </a:prstGeom>
            <a:solidFill>
              <a:schemeClr val="accent1"/>
            </a:solidFill>
            <a:ln w="952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91" name="Google Shape;291;p1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292" name="Google Shape;292;p1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49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3" name="Google Shape;293;p1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08</a:t>
                </a:r>
                <a:endParaRPr/>
              </a:p>
            </p:txBody>
          </p:sp>
          <p:sp>
            <p:nvSpPr>
              <p:cNvPr id="294" name="Google Shape;294;p1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29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42</a:t>
                </a:r>
                <a:endParaRPr/>
              </a:p>
            </p:txBody>
          </p:sp>
          <p:sp>
            <p:nvSpPr>
              <p:cNvPr id="295" name="Google Shape;295;p1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78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16</a:t>
                </a:r>
                <a:endParaRPr/>
              </a:p>
            </p:txBody>
          </p:sp>
          <p:sp>
            <p:nvSpPr>
              <p:cNvPr id="296" name="Google Shape;296;p10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97" name="Google Shape;297;p10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92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/>
              </a:p>
            </p:txBody>
          </p:sp>
          <p:sp>
            <p:nvSpPr>
              <p:cNvPr id="298" name="Google Shape;298;p10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0,0,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9" name="Google Shape;299;p1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9</a:t>
                </a:r>
                <a:b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6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0" name="Google Shape;300;p1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19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26</a:t>
                </a:r>
                <a:b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1" name="Google Shape;301;p1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4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35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2" name="Google Shape;302;p1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rPr>
                  <a:t>255</a:t>
                </a:r>
                <a:endParaRPr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3" name="Google Shape;303;p1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190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00667F"/>
                    </a:solidFill>
                    <a:latin typeface="Arial"/>
                    <a:ea typeface="Arial"/>
                    <a:cs typeface="Arial"/>
                    <a:sym typeface="Arial"/>
                  </a:rPr>
                  <a:t>25</a:t>
                </a:r>
                <a:endParaRPr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4" name="Google Shape;304;p1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14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5" name="Google Shape;305;p1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5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2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110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6" name="Google Shape;306;p1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77900" tIns="38950" rIns="77900" bIns="3895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224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8</a:t>
                </a:r>
                <a:b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</a:br>
                <a:r>
                  <a:rPr lang="ru-RU" sz="7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7</a:t>
                </a:r>
                <a:endParaRPr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7" name="Google Shape;307;p1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Основные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8" name="Google Shape;308;p1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800">
                    <a:solidFill>
                      <a:schemeClr val="lt1"/>
                    </a:solidFill>
                    <a:latin typeface="Arial"/>
                    <a:ea typeface="Arial"/>
                    <a:cs typeface="Arial"/>
                    <a:sym typeface="Arial"/>
                  </a:rPr>
                  <a:t>Доп.цвета</a:t>
                </a:r>
                <a:endParaRPr sz="8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9" name="Google Shape;309;p1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7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0" name="Google Shape;310;p1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5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1" name="Google Shape;311;p1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rPr>
                  <a:t>30%</a:t>
                </a:r>
                <a:endParaRPr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12" name="Google Shape;312;p1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9525" cap="flat" cmpd="sng">
                <a:solidFill>
                  <a:srgbClr val="B2B2B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r>
                  <a:rPr lang="ru-RU" sz="600">
                    <a:solidFill>
                      <a:schemeClr val="dk1"/>
                    </a:solidFill>
                    <a:latin typeface="Arial"/>
                    <a:ea typeface="Arial"/>
                    <a:cs typeface="Arial"/>
                    <a:sym typeface="Arial"/>
                  </a:rPr>
                  <a:t>10%</a:t>
                </a:r>
                <a:endParaRPr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  <p:transition spd="slow"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oleObject" Target="../embeddings/oleObject3.bin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939002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Слайд think-cell" r:id="rId39" imgW="530" imgH="531" progId="TCLayout.ActiveDocument.1">
                  <p:embed/>
                </p:oleObj>
              </mc:Choice>
              <mc:Fallback>
                <p:oleObj name="Слайд think-cell" r:id="rId3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1;p1"/>
          <p:cNvSpPr txBox="1"/>
          <p:nvPr/>
        </p:nvSpPr>
        <p:spPr>
          <a:xfrm>
            <a:off x="395536" y="154103"/>
            <a:ext cx="8497326" cy="5274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008C9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1"/>
          <p:cNvSpPr txBox="1"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 i="0" u="none" strike="noStrike" cap="none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sldNum" idx="12"/>
          </p:nvPr>
        </p:nvSpPr>
        <p:spPr>
          <a:xfrm>
            <a:off x="8455753" y="4757635"/>
            <a:ext cx="329472" cy="190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  <a:defRPr sz="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ftr" idx="11"/>
          </p:nvPr>
        </p:nvSpPr>
        <p:spPr>
          <a:xfrm>
            <a:off x="2912248" y="4757635"/>
            <a:ext cx="5311574" cy="198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  <p:grpSp>
        <p:nvGrpSpPr>
          <p:cNvPr id="16" name="Google Shape;16;p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17" name="Google Shape;17;p1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40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49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8;p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</p:txBody>
        </p:sp>
        <p:sp>
          <p:nvSpPr>
            <p:cNvPr id="19" name="Google Shape;19;p1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29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4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42</a:t>
              </a:r>
              <a:endParaRPr/>
            </a:p>
          </p:txBody>
        </p:sp>
        <p:sp>
          <p:nvSpPr>
            <p:cNvPr id="20" name="Google Shape;20;p1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7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1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16</a:t>
              </a:r>
              <a:endParaRPr/>
            </a:p>
          </p:txBody>
        </p:sp>
        <p:sp>
          <p:nvSpPr>
            <p:cNvPr id="21" name="Google Shape;21;p1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9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</p:txBody>
        </p:sp>
        <p:sp>
          <p:nvSpPr>
            <p:cNvPr id="22" name="Google Shape;22;p1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9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</p:txBody>
        </p:sp>
        <p:sp>
          <p:nvSpPr>
            <p:cNvPr id="23" name="Google Shape;23;p1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,0,0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24;p1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b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49</a:t>
              </a:r>
              <a:b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60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25;p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19</a:t>
              </a:r>
              <a:b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26</a:t>
              </a:r>
              <a:b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95</a:t>
              </a:r>
              <a:endParaRPr sz="700" b="0" i="0" u="none" strike="noStrike" cap="none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26;p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45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50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35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27;p1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28;p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 b="0" i="0" u="none" strike="noStrike" cap="none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90</a:t>
              </a:r>
              <a:endParaRPr sz="700" b="0" i="0" u="none" strike="noStrike" cap="none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5</a:t>
              </a:r>
              <a:endParaRPr sz="700" b="0" i="0" u="none" strike="noStrike" cap="none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29;p1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40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30;p1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20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10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1;p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24</a:t>
              </a:r>
              <a:b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78</a:t>
              </a:r>
              <a:b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 b="0" i="0" u="none" strike="noStrike" cap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57</a:t>
              </a:r>
              <a:endParaRPr sz="7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32;p1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Основные</a:t>
              </a:r>
              <a:endPara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33;p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Доп.цвета</a:t>
              </a:r>
              <a:endPara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34;p1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 b="0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70%</a:t>
              </a:r>
              <a:endParaRPr sz="600" b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35;p1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 b="0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50%</a:t>
              </a:r>
              <a:endParaRPr sz="600" b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36;p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 b="0" u="none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30%</a:t>
              </a:r>
              <a:endParaRPr sz="600" b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37;p1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 b="0" u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0%</a:t>
              </a:r>
              <a:endParaRPr sz="600" b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8" name="Google Shape;38;p1"/>
          <p:cNvSpPr txBox="1"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9" r:id="rId32"/>
    <p:sldLayoutId id="2147483680" r:id="rId33"/>
    <p:sldLayoutId id="2147483681" r:id="rId34"/>
    <p:sldLayoutId id="2147483708" r:id="rId35"/>
  </p:sldLayoutIdLst>
  <p:transition spd="slow"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r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512026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Слайд think-cell" r:id="rId28" imgW="530" imgH="531" progId="TCLayout.ActiveDocument.1">
                  <p:embed/>
                </p:oleObj>
              </mc:Choice>
              <mc:Fallback>
                <p:oleObj name="Слайд think-cell" r:id="rId28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2" name="Google Shape;1142;p36"/>
          <p:cNvSpPr txBox="1"/>
          <p:nvPr/>
        </p:nvSpPr>
        <p:spPr>
          <a:xfrm>
            <a:off x="395536" y="154103"/>
            <a:ext cx="8497326" cy="5274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8C9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3" name="Google Shape;1143;p36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1" i="0" u="none" strike="noStrike" cap="none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4" name="Google Shape;1144;p36"/>
          <p:cNvSpPr txBox="1">
            <a:spLocks noGrp="1"/>
          </p:cNvSpPr>
          <p:nvPr>
            <p:ph type="sldNum" idx="12"/>
          </p:nvPr>
        </p:nvSpPr>
        <p:spPr>
          <a:xfrm>
            <a:off x="8466143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8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45" name="Google Shape;1145;p36"/>
          <p:cNvSpPr txBox="1">
            <a:spLocks noGrp="1"/>
          </p:cNvSpPr>
          <p:nvPr>
            <p:ph type="ftr" idx="11"/>
          </p:nvPr>
        </p:nvSpPr>
        <p:spPr>
          <a:xfrm>
            <a:off x="2916371" y="4755454"/>
            <a:ext cx="5317841" cy="20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 dirty="0"/>
          </a:p>
        </p:txBody>
      </p:sp>
      <p:sp>
        <p:nvSpPr>
          <p:cNvPr id="1147" name="Google Shape;1147;p36"/>
          <p:cNvSpPr txBox="1"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14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2100" algn="l" rtl="0">
              <a:spcBef>
                <a:spcPts val="6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2100" algn="l" rtl="0">
              <a:spcBef>
                <a:spcPts val="200"/>
              </a:spcBef>
              <a:spcAft>
                <a:spcPts val="0"/>
              </a:spcAft>
              <a:buClr>
                <a:schemeClr val="folHlink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grpSp>
        <p:nvGrpSpPr>
          <p:cNvPr id="1149" name="Google Shape;1149;p36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1150" name="Google Shape;1150;p36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40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49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" name="Google Shape;1151;p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08</a:t>
              </a:r>
              <a:endParaRPr/>
            </a:p>
          </p:txBody>
        </p:sp>
        <p:sp>
          <p:nvSpPr>
            <p:cNvPr id="1152" name="Google Shape;1152;p36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29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4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42</a:t>
              </a:r>
              <a:endParaRPr/>
            </a:p>
          </p:txBody>
        </p:sp>
        <p:sp>
          <p:nvSpPr>
            <p:cNvPr id="1153" name="Google Shape;1153;p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78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1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16</a:t>
              </a:r>
              <a:endParaRPr/>
            </a:p>
          </p:txBody>
        </p:sp>
        <p:sp>
          <p:nvSpPr>
            <p:cNvPr id="1154" name="Google Shape;1154;p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9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</p:txBody>
        </p:sp>
        <p:sp>
          <p:nvSpPr>
            <p:cNvPr id="1155" name="Google Shape;1155;p36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92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/>
            </a:p>
          </p:txBody>
        </p:sp>
        <p:sp>
          <p:nvSpPr>
            <p:cNvPr id="1156" name="Google Shape;1156;p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0,0,0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7" name="Google Shape;1157;p36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b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49</a:t>
              </a:r>
              <a:b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60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8" name="Google Shape;1158;p36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19</a:t>
              </a:r>
              <a:b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26</a:t>
              </a:r>
              <a:b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95</a:t>
              </a:r>
              <a:endParaRPr sz="700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" name="Google Shape;1159;p3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45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50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35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0" name="Google Shape;1160;p36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55</a:t>
              </a:r>
              <a:endPara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1" name="Google Shape;1161;p3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190</a:t>
              </a:r>
              <a:endParaRPr sz="700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00667F"/>
                  </a:solidFill>
                  <a:latin typeface="Arial"/>
                  <a:ea typeface="Arial"/>
                  <a:cs typeface="Arial"/>
                  <a:sym typeface="Arial"/>
                </a:rPr>
                <a:t>25</a:t>
              </a:r>
              <a:endParaRPr sz="700">
                <a:solidFill>
                  <a:srgbClr val="00667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2" name="Google Shape;1162;p36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0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140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3" name="Google Shape;1163;p3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50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20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110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4" name="Google Shape;1164;p3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77900" tIns="38950" rIns="77900" bIns="3895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224</a:t>
              </a:r>
              <a:b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78</a:t>
              </a:r>
              <a:b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</a:br>
              <a:r>
                <a:rPr lang="ru-RU" sz="7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57</a:t>
              </a:r>
              <a:endParaRPr sz="7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5" name="Google Shape;1165;p36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Основные</a:t>
              </a:r>
              <a:endPara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6" name="Google Shape;1166;p36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Доп.цвета</a:t>
              </a:r>
              <a:endPara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7" name="Google Shape;1167;p36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70%</a:t>
              </a:r>
              <a:endParaRPr sz="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8" name="Google Shape;1168;p3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50%</a:t>
              </a:r>
              <a:endParaRPr sz="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69" name="Google Shape;1169;p3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30%</a:t>
              </a:r>
              <a:endParaRPr sz="6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70" name="Google Shape;1170;p36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9525" cap="flat" cmpd="sng">
              <a:solidFill>
                <a:srgbClr val="B2B2B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6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10%</a:t>
              </a:r>
              <a:endParaRPr sz="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</p:sldLayoutIdLst>
  <p:transition spd="slow"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3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3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0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4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50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5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5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5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56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5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5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6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5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7.jp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68.png"/><Relationship Id="rId12" Type="http://schemas.openxmlformats.org/officeDocument/2006/relationships/image" Target="../media/image73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72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71.jpg"/><Relationship Id="rId4" Type="http://schemas.openxmlformats.org/officeDocument/2006/relationships/notesSlide" Target="../notesSlides/notesSlide39.xml"/><Relationship Id="rId9" Type="http://schemas.openxmlformats.org/officeDocument/2006/relationships/image" Target="../media/image7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61"/>
          <p:cNvSpPr>
            <a:spLocks noGrp="1"/>
          </p:cNvSpPr>
          <p:nvPr>
            <p:ph type="pic" idx="2"/>
          </p:nvPr>
        </p:nvSpPr>
        <p:spPr>
          <a:xfrm>
            <a:off x="0" y="1"/>
            <a:ext cx="6573598" cy="5143500"/>
          </a:xfrm>
          <a:prstGeom prst="rect">
            <a:avLst/>
          </a:prstGeom>
          <a:solidFill>
            <a:schemeClr val="dk2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sp>
      <p:pic>
        <p:nvPicPr>
          <p:cNvPr id="1349" name="Google Shape;1349;p61"/>
          <p:cNvPicPr preferRelativeResize="0"/>
          <p:nvPr/>
        </p:nvPicPr>
        <p:blipFill rotWithShape="1">
          <a:blip r:embed="rId3">
            <a:alphaModFix/>
          </a:blip>
          <a:srcRect l="14755"/>
          <a:stretch/>
        </p:blipFill>
        <p:spPr>
          <a:xfrm>
            <a:off x="0" y="0"/>
            <a:ext cx="65736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50" name="Google Shape;1350;p61"/>
          <p:cNvSpPr/>
          <p:nvPr/>
        </p:nvSpPr>
        <p:spPr>
          <a:xfrm>
            <a:off x="0" y="246490"/>
            <a:ext cx="6573598" cy="4897010"/>
          </a:xfrm>
          <a:prstGeom prst="rect">
            <a:avLst/>
          </a:prstGeom>
          <a:gradFill>
            <a:gsLst>
              <a:gs pos="0">
                <a:srgbClr val="ECFFFF">
                  <a:alpha val="0"/>
                </a:srgbClr>
              </a:gs>
              <a:gs pos="14000">
                <a:srgbClr val="ECFFFF">
                  <a:alpha val="0"/>
                </a:srgbClr>
              </a:gs>
              <a:gs pos="61000">
                <a:srgbClr val="000000">
                  <a:alpha val="42352"/>
                </a:srgbClr>
              </a:gs>
              <a:gs pos="85000">
                <a:srgbClr val="00313C">
                  <a:alpha val="85490"/>
                </a:srgbClr>
              </a:gs>
              <a:gs pos="100000">
                <a:srgbClr val="00313C">
                  <a:alpha val="85490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1" name="Google Shape;1351;p61"/>
          <p:cNvSpPr txBox="1">
            <a:spLocks noGrp="1"/>
          </p:cNvSpPr>
          <p:nvPr>
            <p:ph type="ctrTitle"/>
          </p:nvPr>
        </p:nvSpPr>
        <p:spPr>
          <a:xfrm>
            <a:off x="323088" y="2845181"/>
            <a:ext cx="5902452" cy="1706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</a:pPr>
            <a:r>
              <a:rPr lang="ru-RU" sz="3600" b="1">
                <a:solidFill>
                  <a:schemeClr val="lt1"/>
                </a:solidFill>
              </a:rPr>
              <a:t>РАДИАЦИОННАЯ СТЕРИЛИЗАЦИЯ </a:t>
            </a:r>
            <a:r>
              <a:rPr lang="ru-RU" sz="3600">
                <a:solidFill>
                  <a:schemeClr val="lt1"/>
                </a:solidFill>
              </a:rPr>
              <a:t>МЕДИЦИНСКИХ ИЗДЕЛИЙ</a:t>
            </a:r>
            <a:endParaRPr sz="3600">
              <a:solidFill>
                <a:schemeClr val="lt1"/>
              </a:solidFill>
            </a:endParaRPr>
          </a:p>
        </p:txBody>
      </p:sp>
      <p:sp>
        <p:nvSpPr>
          <p:cNvPr id="1352" name="Google Shape;1352;p61"/>
          <p:cNvSpPr txBox="1">
            <a:spLocks noGrp="1"/>
          </p:cNvSpPr>
          <p:nvPr>
            <p:ph type="body" idx="3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ru-RU" dirty="0"/>
              <a:t>Май</a:t>
            </a:r>
            <a:endParaRPr dirty="0"/>
          </a:p>
          <a:p>
            <a:pPr marL="0" lvl="0" indent="0" algn="r" rtl="0">
              <a:spcBef>
                <a:spcPts val="0"/>
              </a:spcBef>
              <a:spcAft>
                <a:spcPts val="0"/>
              </a:spcAft>
              <a:buSzPts val="1000"/>
              <a:buNone/>
            </a:pPr>
            <a:r>
              <a:rPr lang="ru-RU" dirty="0"/>
              <a:t>2023</a:t>
            </a:r>
            <a:endParaRPr dirty="0"/>
          </a:p>
        </p:txBody>
      </p:sp>
      <p:sp>
        <p:nvSpPr>
          <p:cNvPr id="1353" name="Google Shape;1353;p61"/>
          <p:cNvSpPr txBox="1">
            <a:spLocks noGrp="1"/>
          </p:cNvSpPr>
          <p:nvPr>
            <p:ph type="sldNum" idx="4294967295"/>
          </p:nvPr>
        </p:nvSpPr>
        <p:spPr>
          <a:xfrm>
            <a:off x="8594725" y="4749800"/>
            <a:ext cx="549275" cy="39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</a:pPr>
            <a:fld id="{00000000-1234-1234-1234-123412341234}" type="slidenum">
              <a:rPr lang="ru-RU"/>
              <a:t>1</a:t>
            </a:fld>
            <a:endParaRPr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493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5" name="Google Shape;1495;p69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Воздействие ионизирующего излучения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на полимерные материалы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506" name="Google Shape;1506;p69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496" name="Google Shape;1496;p69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0</a:t>
            </a:fld>
            <a:endParaRPr lang="ru-RU"/>
          </a:p>
        </p:txBody>
      </p:sp>
      <p:sp>
        <p:nvSpPr>
          <p:cNvPr id="1497" name="Google Shape;1497;p69"/>
          <p:cNvSpPr/>
          <p:nvPr/>
        </p:nvSpPr>
        <p:spPr>
          <a:xfrm>
            <a:off x="297635" y="1823583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8" name="Google Shape;1498;p69"/>
          <p:cNvSpPr/>
          <p:nvPr/>
        </p:nvSpPr>
        <p:spPr>
          <a:xfrm>
            <a:off x="3229265" y="1823583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9" name="Google Shape;1499;p69"/>
          <p:cNvSpPr/>
          <p:nvPr/>
        </p:nvSpPr>
        <p:spPr>
          <a:xfrm>
            <a:off x="6234541" y="1823583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0" name="Google Shape;1500;p69"/>
          <p:cNvSpPr/>
          <p:nvPr/>
        </p:nvSpPr>
        <p:spPr>
          <a:xfrm>
            <a:off x="358774" y="1856311"/>
            <a:ext cx="2584733" cy="2723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шивка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шивкой полимеров называют физический процесс, который модифицирует внутреннюю молекулярную структуру материала без изменения химического состава вещества.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шивка используется при модифицировании полиолефиновой (преимущественно полиэтиленовой и поливинилхлоридной) изоляции кабелей и проводов, изготовление упрочненных и термоусаживающихся пленок, трубок, производстве пенополиэтилена, вулканизации эластомеров и изделий из них (компонентов шин, каучуков с целью изготовления на их основе термостойких электроизоляционных лент и др.).</a:t>
            </a:r>
            <a:endParaRPr/>
          </a:p>
        </p:txBody>
      </p:sp>
      <p:sp>
        <p:nvSpPr>
          <p:cNvPr id="1501" name="Google Shape;1501;p69"/>
          <p:cNvSpPr txBox="1"/>
          <p:nvPr/>
        </p:nvSpPr>
        <p:spPr>
          <a:xfrm>
            <a:off x="3288031" y="1856311"/>
            <a:ext cx="2601986" cy="1338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Деградация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Деградация - реакция, протекающая с разрывом связей основной молекулярной цепи и приводящая к снижению молекулярной массы полимера без изменения химического состава.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азорванные связи, как правило, окисляются</a:t>
            </a:r>
            <a:endParaRPr/>
          </a:p>
        </p:txBody>
      </p:sp>
      <p:sp>
        <p:nvSpPr>
          <p:cNvPr id="1502" name="Google Shape;1502;p69"/>
          <p:cNvSpPr txBox="1"/>
          <p:nvPr/>
        </p:nvSpPr>
        <p:spPr>
          <a:xfrm>
            <a:off x="6303177" y="1856311"/>
            <a:ext cx="2609450" cy="19159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вивка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вивка к основной цепи полимера боковых ветвей, природа которых может быть или близка к природе основной цепи или сильно от нее отличаться. Свойства привитых сополимеров в известной мере определяются свойствами полимеров, образующих основную цепь и боковые ветви, но в то же время в привитых сополимерах обнаруживаются свойства, которыми ни один из образующих его полимеров не обладает.</a:t>
            </a:r>
            <a:endParaRPr/>
          </a:p>
        </p:txBody>
      </p:sp>
      <p:pic>
        <p:nvPicPr>
          <p:cNvPr id="1503" name="Google Shape;1503;p69"/>
          <p:cNvPicPr preferRelativeResize="0"/>
          <p:nvPr/>
        </p:nvPicPr>
        <p:blipFill rotWithShape="1">
          <a:blip r:embed="rId7">
            <a:alphaModFix/>
          </a:blip>
          <a:srcRect t="7492" r="4242" b="76915"/>
          <a:stretch/>
        </p:blipFill>
        <p:spPr>
          <a:xfrm>
            <a:off x="226527" y="913273"/>
            <a:ext cx="2727140" cy="885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504" name="Google Shape;1504;p69"/>
          <p:cNvPicPr preferRelativeResize="0"/>
          <p:nvPr/>
        </p:nvPicPr>
        <p:blipFill rotWithShape="1">
          <a:blip r:embed="rId7">
            <a:alphaModFix/>
          </a:blip>
          <a:srcRect t="38814" r="4242" b="44788"/>
          <a:stretch/>
        </p:blipFill>
        <p:spPr>
          <a:xfrm>
            <a:off x="3288031" y="989791"/>
            <a:ext cx="2208153" cy="7540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05" name="Google Shape;1505;p69"/>
          <p:cNvPicPr preferRelativeResize="0"/>
          <p:nvPr/>
        </p:nvPicPr>
        <p:blipFill rotWithShape="1">
          <a:blip r:embed="rId7">
            <a:alphaModFix/>
          </a:blip>
          <a:srcRect t="72406" r="2467" b="12000"/>
          <a:stretch/>
        </p:blipFill>
        <p:spPr>
          <a:xfrm>
            <a:off x="6175775" y="964737"/>
            <a:ext cx="2524395" cy="8048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61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00" cy="67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8C95"/>
              </a:buClr>
              <a:buSzPts val="1400"/>
              <a:buFont typeface="Arial"/>
              <a:buNone/>
            </a:pPr>
            <a:r>
              <a:rPr lang="ru-RU"/>
              <a:t>Радиационная стойкость </a:t>
            </a:r>
            <a:r>
              <a:rPr lang="ru-RU">
                <a:solidFill>
                  <a:schemeClr val="accent6"/>
                </a:solidFill>
              </a:rPr>
              <a:t>полимеров медицинского назначения</a:t>
            </a:r>
            <a:endParaRPr/>
          </a:p>
        </p:txBody>
      </p:sp>
      <p:sp>
        <p:nvSpPr>
          <p:cNvPr id="1349" name="Google Shape;1349;p61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200" cy="1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00"/>
              <a:buFont typeface="Arial"/>
              <a:buNone/>
            </a:pPr>
            <a:fld id="{00000000-1234-1234-1234-123412341234}" type="slidenum">
              <a:rPr lang="ru-RU"/>
              <a:t>11</a:t>
            </a:fld>
            <a:endParaRPr/>
          </a:p>
        </p:txBody>
      </p:sp>
      <p:graphicFrame>
        <p:nvGraphicFramePr>
          <p:cNvPr id="1350" name="Google Shape;1350;p61"/>
          <p:cNvGraphicFramePr/>
          <p:nvPr/>
        </p:nvGraphicFramePr>
        <p:xfrm>
          <a:off x="365125" y="683818"/>
          <a:ext cx="8460000" cy="33301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9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28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Материал</a:t>
                      </a:r>
                      <a:endParaRPr sz="1000" b="1" u="none" strike="noStrike" cap="none"/>
                    </a:p>
                  </a:txBody>
                  <a:tcPr marL="0" marR="0" marT="0" marB="3600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Допустимый уровень*</a:t>
                      </a:r>
                      <a:endParaRPr sz="1000" b="1" u="none" strike="noStrike" cap="none"/>
                    </a:p>
                  </a:txBody>
                  <a:tcPr marL="0" marR="0" marT="0" marB="3600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Комментарий</a:t>
                      </a:r>
                      <a:endParaRPr sz="1000" b="1" u="none" strike="noStrike" cap="none"/>
                    </a:p>
                  </a:txBody>
                  <a:tcPr marL="0" marR="0" marT="0" marB="3600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350">
                <a:tc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Термопласты</a:t>
                      </a:r>
                      <a:endParaRPr sz="1000" b="1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16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Акрилонитрил/бутадиен/стирол (АБС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Защищено структурой бензольного кольца. Необходимо избегать высоких доз на ударопрочных материалах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6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Ароматические полиэфиры (ПЭТ, ПЭТГ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Очень стабилен, сохраняет прекрасную прозрачность. Рекомендуется для коннекторов Луер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Бумага, картон, целлюлозные волокна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-2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7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800" b="1" u="none" strike="noStrike" cap="none"/>
                        <a:t>Фторполимеры</a:t>
                      </a:r>
                      <a:endParaRPr sz="800" b="1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Тетрафторэтилен (ПТФЭ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5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деляет газообразный фтор, распадается на порошок. Необходимо избегать использования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хлортрифторэтилен (ECTFE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2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винилиденфторид (ПВДФ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Этилен-тетрафторэтилен (ЭТФЭ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Фторированный этиленпропилен (ФЭП)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5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еобходимо избегать использования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73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800" b="1" u="none" strike="noStrike" cap="none"/>
                        <a:t>Полиакрилы</a:t>
                      </a:r>
                      <a:endParaRPr sz="800" b="1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метилметакрилат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Желтеют при 20-40 кГр; ясность частично восстанавливается при старении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акрилонитрил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Желтеют при 20-40 кГр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акрилат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Желтеют при 20-40 кГр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4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цианоакрилат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2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Адгезивы функционируют при 100 кГр с деградацией свойств менее 30%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546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800" b="1" u="none" strike="noStrike" cap="none"/>
                        <a:t>Полиамиды </a:t>
                      </a:r>
                      <a:br>
                        <a:rPr lang="ru-RU" sz="800" b="1" u="none" strike="noStrike" cap="none"/>
                      </a:br>
                      <a:r>
                        <a:rPr lang="ru-RU" sz="800" u="none" strike="noStrike" cap="none"/>
                        <a:t>PA-6, PA-66, PA-12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25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Обесцвечивается. Необходимо избегать тонких пленок и волокон. Необходима сушка перед формованием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378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800" u="none" strike="noStrike" cap="none"/>
                        <a:t>Поликарбонат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1000 кГр</a:t>
                      </a:r>
                      <a:endParaRPr sz="800" u="none" strike="noStrike" cap="none"/>
                    </a:p>
                  </a:txBody>
                  <a:tcPr marL="0" marR="21600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Обесцвечивается, прозрачность восстанавливается при старении. </a:t>
                      </a:r>
                      <a:r>
                        <a:rPr lang="ru-RU" sz="800" u="none" strike="noStrike" cap="none">
                          <a:solidFill>
                            <a:schemeClr val="accent5"/>
                          </a:solidFill>
                        </a:rPr>
                        <a:t>Необходима сушка </a:t>
                      </a:r>
                      <a:r>
                        <a:rPr lang="ru-RU" sz="800" u="none" strike="noStrike" cap="none"/>
                        <a:t>перед формованием.</a:t>
                      </a:r>
                      <a:endParaRPr sz="800" u="none" strike="noStrike" cap="none"/>
                    </a:p>
                  </a:txBody>
                  <a:tcPr marL="0" marR="0" marT="0" marB="0" anchor="ctr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351" name="Google Shape;1351;p61"/>
          <p:cNvSpPr txBox="1"/>
          <p:nvPr/>
        </p:nvSpPr>
        <p:spPr>
          <a:xfrm>
            <a:off x="358763" y="4368594"/>
            <a:ext cx="5940000" cy="2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800"/>
              <a:buFont typeface="Arial"/>
              <a:buNone/>
            </a:pPr>
            <a:r>
              <a:rPr lang="ru-RU" sz="8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*Уровень облучения, приводящий к незначительному изменению механических свойств</a:t>
            </a:r>
            <a:endParaRPr sz="80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1515;p70"/>
          <p:cNvSpPr txBox="1">
            <a:spLocks/>
          </p:cNvSpPr>
          <p:nvPr/>
        </p:nvSpPr>
        <p:spPr>
          <a:xfrm>
            <a:off x="2894399" y="4755454"/>
            <a:ext cx="5317800" cy="2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Радиационная стерилизация медицинских издел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082115"/>
      </p:ext>
    </p:extLst>
  </p:cSld>
  <p:clrMapOvr>
    <a:masterClrMapping/>
  </p:clrMapOvr>
  <p:transition spd="slow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8" name="Google Shape;1358;p62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/>
              <a:t>Радиационная стойкость </a:t>
            </a:r>
            <a:r>
              <a:rPr lang="ru-RU">
                <a:solidFill>
                  <a:schemeClr val="accent6"/>
                </a:solidFill>
              </a:rPr>
              <a:t>полимеров медицинского назначения</a:t>
            </a:r>
            <a:endParaRPr>
              <a:solidFill>
                <a:schemeClr val="accent6"/>
              </a:solidFill>
            </a:endParaRPr>
          </a:p>
        </p:txBody>
      </p:sp>
      <p:sp>
        <p:nvSpPr>
          <p:cNvPr id="1360" name="Google Shape;1360;p62"/>
          <p:cNvSpPr txBox="1">
            <a:spLocks noGrp="1"/>
          </p:cNvSpPr>
          <p:nvPr>
            <p:ph type="sldNum" idx="12"/>
          </p:nvPr>
        </p:nvSpPr>
        <p:spPr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12</a:t>
            </a:fld>
            <a:endParaRPr/>
          </a:p>
        </p:txBody>
      </p:sp>
      <p:sp>
        <p:nvSpPr>
          <p:cNvPr id="1361" name="Google Shape;1361;p62"/>
          <p:cNvSpPr txBox="1"/>
          <p:nvPr/>
        </p:nvSpPr>
        <p:spPr>
          <a:xfrm>
            <a:off x="235238" y="4451032"/>
            <a:ext cx="5940000" cy="20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800"/>
              <a:buFont typeface="Arial"/>
              <a:buNone/>
            </a:pPr>
            <a:r>
              <a:rPr lang="ru-RU" sz="8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*Уровень облучения, приводящий к незначительному изменению механических свойств</a:t>
            </a:r>
            <a:endParaRPr sz="80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362" name="Google Shape;1362;p62"/>
          <p:cNvGraphicFramePr/>
          <p:nvPr/>
        </p:nvGraphicFramePr>
        <p:xfrm>
          <a:off x="235238" y="766125"/>
          <a:ext cx="8825925" cy="3603117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094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1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51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/>
                        <a:t>Материал</a:t>
                      </a:r>
                      <a:endParaRPr sz="1000" b="1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/>
                        <a:t>Допустимый уровень*</a:t>
                      </a:r>
                      <a:endParaRPr sz="1000" b="1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/>
                        <a:t>Комментарий</a:t>
                      </a:r>
                      <a:endParaRPr sz="1000" b="1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стирол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Все стиролы стабилизированы структурой бензольного кольца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уретан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Отличная прозрачность и химическая стойкость к растрескиванию под напряжением. Сушка необходима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винилхлорид (ПВХ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Желтеет, можно тонировать для коррекции цвета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02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винилиденхлорид (ПВДХ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Желтеет, выделяет HCl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1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Стирол/акрилонитрил (САН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Желтеет при 40 кГр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025">
                <a:tc gridSpan="3"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/>
                        <a:t>Полиолефины</a:t>
                      </a:r>
                      <a:endParaRPr sz="900" b="1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/>
                        <a:t>Полиэтилен</a:t>
                      </a:r>
                      <a:endParaRPr sz="800" b="1"/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(LDPE, LLDPE, HDPE, UHMPE, UHMWPE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Сшивается: набирает прочность, теряет в удлинении. </a:t>
                      </a:r>
                      <a:endParaRPr sz="800"/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Весь полиэтилен радиационно стабилен, низкая плотность наиболее устойчива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/>
                        <a:t>Полипропилен</a:t>
                      </a:r>
                      <a:endParaRPr sz="800" b="1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Гомополимер стабилизированный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45-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двержен охрупчиванию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Рандом, блок полипропилен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50-75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Более стабилен, чем гомополимер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Гомополимер не стабилизированный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2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Необходимо избегать использования нестабилизированного полипропилена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F9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00000">
                <a:tc gridSpan="3"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/>
                        <a:t>Эластомеры</a:t>
                      </a:r>
                      <a:endParaRPr sz="1000" b="1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E3F9F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287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Бутилкаучук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5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FFFFFF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Этилен-пропилен-диеновый каучук (EPDM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-2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Сшивается, слегка желтеет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0257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Фторэластомер 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5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Натуральный каучук (изопрен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Очень стабилен с системами отверждения серы или смолы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Бутадиен-нитрильный каучук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2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акрил 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50-2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олихлоропрен (неопрен)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2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Силикон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50-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Плотность поперечных связей увеличивается больше в пероксидных системах, чем в платиновых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00000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Стирол-бутадиен-стирольные каучуки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100 кГр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/>
                        <a:t>Избегайте многократной стерилизации.</a:t>
                      </a:r>
                      <a:endParaRPr sz="800"/>
                    </a:p>
                  </a:txBody>
                  <a:tcPr marL="0" marR="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7" name="Google Shape;1522;p71"/>
          <p:cNvSpPr txBox="1">
            <a:spLocks noGrp="1"/>
          </p:cNvSpPr>
          <p:nvPr>
            <p:ph type="ftr" idx="11"/>
          </p:nvPr>
        </p:nvSpPr>
        <p:spPr>
          <a:xfrm>
            <a:off x="2894399" y="4755454"/>
            <a:ext cx="5317841" cy="200732"/>
          </a:xfrm>
        </p:spPr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</p:spTree>
    <p:extLst>
      <p:ext uri="{BB962C8B-B14F-4D97-AF65-F5344CB8AC3E}">
        <p14:creationId xmlns:p14="http://schemas.microsoft.com/office/powerpoint/2010/main" val="3104586142"/>
      </p:ext>
    </p:extLst>
  </p:cSld>
  <p:clrMapOvr>
    <a:masterClrMapping/>
  </p:clrMapOvr>
  <p:transition spd="slow">
    <p:fade thruBlk="1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581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0" name="Google Shape;1530;p7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Марки </a:t>
            </a:r>
            <a:r>
              <a:rPr lang="ru-RU" dirty="0" err="1" smtClean="0"/>
              <a:t>СИБУРа</a:t>
            </a:r>
            <a:r>
              <a:rPr lang="ru-RU" dirty="0" smtClean="0"/>
              <a:t>, </a:t>
            </a:r>
            <a:r>
              <a:rPr lang="ru-RU" dirty="0" smtClean="0">
                <a:solidFill>
                  <a:schemeClr val="accent6"/>
                </a:solidFill>
              </a:rPr>
              <a:t>совместимые</a:t>
            </a:r>
            <a:r>
              <a:rPr lang="ru-RU" dirty="0" smtClean="0"/>
              <a:t> с радиационной стерилизацией</a:t>
            </a:r>
            <a:endParaRPr lang="ru-RU" dirty="0"/>
          </a:p>
        </p:txBody>
      </p:sp>
      <p:sp>
        <p:nvSpPr>
          <p:cNvPr id="1533" name="Google Shape;1533;p72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531" name="Google Shape;1531;p72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3</a:t>
            </a:fld>
            <a:endParaRPr lang="ru-RU"/>
          </a:p>
        </p:txBody>
      </p:sp>
      <p:graphicFrame>
        <p:nvGraphicFramePr>
          <p:cNvPr id="1532" name="Google Shape;1532;p72"/>
          <p:cNvGraphicFramePr/>
          <p:nvPr>
            <p:extLst>
              <p:ext uri="{D42A27DB-BD31-4B8C-83A1-F6EECF244321}">
                <p14:modId xmlns:p14="http://schemas.microsoft.com/office/powerpoint/2010/main" val="1226972134"/>
              </p:ext>
            </p:extLst>
          </p:nvPr>
        </p:nvGraphicFramePr>
        <p:xfrm>
          <a:off x="358774" y="713322"/>
          <a:ext cx="8426400" cy="3854050"/>
        </p:xfrm>
        <a:graphic>
          <a:graphicData uri="http://schemas.openxmlformats.org/drawingml/2006/table">
            <a:tbl>
              <a:tblPr firstRow="1" bandRow="1">
                <a:noFill/>
                <a:tableStyleId>{36C9B198-DAAD-4278-9EEB-D73AD9A70B22}</a:tableStyleId>
              </a:tblPr>
              <a:tblGrid>
                <a:gridCol w="2106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6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6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6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32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u="none" strike="noStrike" cap="none"/>
                        <a:t>Марка</a:t>
                      </a:r>
                      <a:endParaRPr sz="1000"/>
                    </a:p>
                  </a:txBody>
                  <a:tcPr marL="91450" marR="91450" marT="45725" marB="45725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Старое название</a:t>
                      </a:r>
                      <a:endParaRPr sz="1000"/>
                    </a:p>
                  </a:txBody>
                  <a:tcPr marL="91450" marR="91450" marT="45725" marB="45725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Примеры мед.изделий</a:t>
                      </a:r>
                      <a:endParaRPr sz="1000"/>
                    </a:p>
                  </a:txBody>
                  <a:tcPr marL="91450" marR="91450" marT="45725" marB="45725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Max доза в изделии при стерилизации, кГр</a:t>
                      </a:r>
                      <a:endParaRPr sz="1000"/>
                    </a:p>
                  </a:txBody>
                  <a:tcPr marL="91450" marR="91450" marT="45725" marB="45725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8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dirty="0" smtClean="0"/>
                        <a:t>ПЭНП:</a:t>
                      </a: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 smtClean="0"/>
                        <a:t>10803-020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11503-070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15813-020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 smtClean="0"/>
                        <a:t>15803-020</a:t>
                      </a:r>
                      <a:endParaRPr lang="en-US" sz="1000" dirty="0" smtClean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dirty="0" smtClean="0"/>
                        <a:t>ЛПЭНП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b="0" i="0" u="none" strike="noStrike" cap="none" dirty="0" smtClean="0">
                          <a:solidFill>
                            <a:schemeClr val="dk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E LL30203 FH</a:t>
                      </a: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000" smtClean="0"/>
                        <a:t>PE5118QM</a:t>
                      </a:r>
                      <a:endParaRPr lang="en-US" sz="1000" dirty="0" smtClean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Плёнка для упаковки </a:t>
                      </a:r>
                      <a:r>
                        <a:rPr lang="ru-RU" sz="1000" dirty="0" err="1"/>
                        <a:t>мед.изделий</a:t>
                      </a:r>
                      <a:r>
                        <a:rPr lang="ru-RU" sz="1000" dirty="0"/>
                        <a:t>,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колпачки для диализаторов</a:t>
                      </a:r>
                      <a:endParaRPr sz="1000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Бутыли, флаконы.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70</a:t>
                      </a:r>
                      <a:endParaRPr sz="100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68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dirty="0" smtClean="0"/>
                        <a:t>ПЭВП:</a:t>
                      </a:r>
                      <a:endParaRPr b="1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HD45552IM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HD85610IM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 smtClean="0"/>
                        <a:t>HD07580SB</a:t>
                      </a:r>
                      <a:endParaRPr sz="1000" b="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ПЭ2НТ21-13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ПЭ2НТ22-12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ПЭ2НТ76-17</a:t>
                      </a:r>
                      <a:endParaRPr sz="100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 smtClean="0"/>
                        <a:t>Банки</a:t>
                      </a:r>
                      <a:r>
                        <a:rPr lang="ru-RU" sz="1000" dirty="0"/>
                        <a:t>, бутыли, флаконы.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70</a:t>
                      </a:r>
                      <a:endParaRPr sz="100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46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dirty="0"/>
                        <a:t>Полипропилен:</a:t>
                      </a:r>
                      <a:endParaRPr b="1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PP R020BM/5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PP R481IM/5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PP R651IM/5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PP4240GM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PP4445S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/>
                        <a:t>PP4445T</a:t>
                      </a:r>
                      <a:endParaRPr sz="100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dirty="0"/>
                        <a:t>Контейнеры для биоматериалов, шприцы, наконечники</a:t>
                      </a:r>
                      <a:endParaRPr sz="1000" b="0" i="0" u="none" strike="noStrike" dirty="0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45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963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dirty="0"/>
                        <a:t>Полиэтилентерефталат</a:t>
                      </a:r>
                      <a:endParaRPr b="1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ПЭТФ-Т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Вакуумные пробирки для взятия </a:t>
                      </a:r>
                      <a:r>
                        <a:rPr lang="ru-RU" sz="1000" dirty="0" smtClean="0"/>
                        <a:t>крови, корпуса для диализаторов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000" dirty="0"/>
                    </a:p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dirty="0"/>
                        <a:t>45</a:t>
                      </a:r>
                      <a:endParaRPr sz="1000" dirty="0"/>
                    </a:p>
                  </a:txBody>
                  <a:tcPr marL="91450" marR="91450" marT="45725" marB="45725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534" name="Google Shape;1534;p72"/>
          <p:cNvSpPr txBox="1"/>
          <p:nvPr/>
        </p:nvSpPr>
        <p:spPr>
          <a:xfrm>
            <a:off x="505691" y="4601566"/>
            <a:ext cx="8333509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dk2"/>
                </a:solidFill>
                <a:sym typeface="Arial"/>
              </a:rPr>
              <a:t>Ведутся проекты по созданию </a:t>
            </a:r>
            <a:r>
              <a:rPr lang="ru-RU" sz="1100" dirty="0" smtClean="0">
                <a:solidFill>
                  <a:schemeClr val="dk2"/>
                </a:solidFill>
                <a:sym typeface="Arial"/>
              </a:rPr>
              <a:t>радиационно</a:t>
            </a:r>
            <a:r>
              <a:rPr lang="ru-RU" sz="1100" dirty="0">
                <a:solidFill>
                  <a:schemeClr val="dk2"/>
                </a:solidFill>
              </a:rPr>
              <a:t>-</a:t>
            </a:r>
            <a:r>
              <a:rPr lang="ru-RU" sz="1100" dirty="0" smtClean="0">
                <a:solidFill>
                  <a:schemeClr val="dk2"/>
                </a:solidFill>
                <a:sym typeface="Arial"/>
              </a:rPr>
              <a:t>устойчивых</a:t>
            </a:r>
            <a:r>
              <a:rPr lang="ru-RU" sz="1100" dirty="0">
                <a:solidFill>
                  <a:schemeClr val="dk2"/>
                </a:solidFill>
                <a:sym typeface="Arial"/>
              </a:rPr>
              <a:t>: ПП рандом, ПП </a:t>
            </a:r>
            <a:r>
              <a:rPr lang="ru-RU" sz="1100" dirty="0" smtClean="0">
                <a:solidFill>
                  <a:schemeClr val="dk2"/>
                </a:solidFill>
                <a:sym typeface="Arial"/>
              </a:rPr>
              <a:t>гомо</a:t>
            </a:r>
            <a:endParaRPr sz="1800" dirty="0"/>
          </a:p>
        </p:txBody>
      </p:sp>
    </p:spTree>
  </p:cSld>
  <p:clrMapOvr>
    <a:masterClrMapping/>
  </p:clrMapOvr>
  <p:transition spd="slow">
    <p:fade thruBlk="1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57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9" name="Google Shape;1539;p73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4112487" cy="672600"/>
          </a:xfrm>
        </p:spPr>
        <p:txBody>
          <a:bodyPr/>
          <a:lstStyle/>
          <a:p>
            <a:pPr lvl="0"/>
            <a:r>
              <a:rPr lang="ru-RU" dirty="0" smtClean="0"/>
              <a:t>Для чего нужна </a:t>
            </a:r>
            <a:r>
              <a:rPr lang="ru-RU" dirty="0" err="1" smtClean="0">
                <a:solidFill>
                  <a:schemeClr val="accent6"/>
                </a:solidFill>
              </a:rPr>
              <a:t>валидация</a:t>
            </a:r>
            <a:r>
              <a:rPr lang="ru-RU" dirty="0" smtClean="0">
                <a:solidFill>
                  <a:schemeClr val="accent6"/>
                </a:solidFill>
              </a:rPr>
              <a:t> </a:t>
            </a:r>
            <a:r>
              <a:rPr lang="ru-RU" dirty="0" smtClean="0"/>
              <a:t>процесса стерилизации?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544" name="Google Shape;1544;p73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540" name="Google Shape;1540;p7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4</a:t>
            </a:fld>
            <a:endParaRPr lang="ru-RU"/>
          </a:p>
        </p:txBody>
      </p:sp>
      <p:pic>
        <p:nvPicPr>
          <p:cNvPr id="1541" name="Google Shape;1541;p73"/>
          <p:cNvPicPr preferRelativeResize="0"/>
          <p:nvPr/>
        </p:nvPicPr>
        <p:blipFill rotWithShape="1">
          <a:blip r:embed="rId7">
            <a:alphaModFix/>
          </a:blip>
          <a:srcRect t="37917" b="3670"/>
          <a:stretch/>
        </p:blipFill>
        <p:spPr>
          <a:xfrm>
            <a:off x="4572000" y="0"/>
            <a:ext cx="4572000" cy="4572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42" name="Google Shape;1542;p73"/>
          <p:cNvSpPr txBox="1"/>
          <p:nvPr/>
        </p:nvSpPr>
        <p:spPr>
          <a:xfrm>
            <a:off x="362888" y="1293652"/>
            <a:ext cx="3918534" cy="13696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ля некоторых процессов, используемых в производстве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, эффективность процесса не может быть полностью проверена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утем последующей проверки и тестирования продукта.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терилизация является примером такого процесса, так как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евозможно проверить на стерильность каждое изделие без ущерба для его назначения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sp>
        <p:nvSpPr>
          <p:cNvPr id="1543" name="Google Shape;1543;p73"/>
          <p:cNvSpPr txBox="1"/>
          <p:nvPr/>
        </p:nvSpPr>
        <p:spPr>
          <a:xfrm>
            <a:off x="362888" y="2890584"/>
            <a:ext cx="3799840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о этой причине процессы стерилизации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оверяются для использования, 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регулярно контролируется производительность процесса стерилизации 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 поддерживается оборудование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оверки этапов стерилизации, как всех, </a:t>
            </a:r>
            <a:b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ак и частично называются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ей.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652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9" name="Google Shape;1549;p74"/>
          <p:cNvSpPr/>
          <p:nvPr/>
        </p:nvSpPr>
        <p:spPr>
          <a:xfrm>
            <a:off x="5679440" y="0"/>
            <a:ext cx="3464560" cy="4551363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0" name="Google Shape;1550;p74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4980392" cy="672600"/>
          </a:xfrm>
        </p:spPr>
        <p:txBody>
          <a:bodyPr/>
          <a:lstStyle/>
          <a:p>
            <a:pPr lvl="0"/>
            <a:r>
              <a:rPr lang="ru-RU" dirty="0" smtClean="0"/>
              <a:t>Зависимость количества микроорганизмов </a:t>
            </a:r>
            <a:r>
              <a:rPr lang="ru-RU" dirty="0" smtClean="0">
                <a:solidFill>
                  <a:schemeClr val="accent6"/>
                </a:solidFill>
              </a:rPr>
              <a:t>от степени воздействия</a:t>
            </a:r>
            <a:r>
              <a:rPr lang="ru-RU" dirty="0" smtClean="0"/>
              <a:t> стерилизующего агента</a:t>
            </a:r>
            <a:endParaRPr lang="ru-RU" dirty="0"/>
          </a:p>
        </p:txBody>
      </p:sp>
      <p:sp>
        <p:nvSpPr>
          <p:cNvPr id="1554" name="Google Shape;1554;p74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551" name="Google Shape;1551;p74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5</a:t>
            </a:fld>
            <a:endParaRPr lang="ru-RU"/>
          </a:p>
        </p:txBody>
      </p:sp>
      <p:sp>
        <p:nvSpPr>
          <p:cNvPr id="1552" name="Google Shape;1552;p74"/>
          <p:cNvSpPr txBox="1"/>
          <p:nvPr/>
        </p:nvSpPr>
        <p:spPr>
          <a:xfrm>
            <a:off x="362888" y="1504375"/>
            <a:ext cx="5316552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инетика инактивации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чистой культуры микроорганизмов физическими и/или химическими агентами, применяемыми для стерилизации медицинских изделий, в общем случае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очнее всего описывается экспоненциальной зависимостью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между количеством выживших микроорганизмов и степенью воздействия стерилизующего агента.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з этого неизбежно следует,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что всегда существует некоторая вероятность того, что микроорганизм может выжить,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независимо от степени примененного воздействия.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ледовательно,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терильность любого отдельного медицинского изделия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взятого из группы изделий, прошедших стерилизационную обработку,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е может быть гарантирована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endParaRPr sz="12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а стерильность обработанной группы выражается </a:t>
            </a:r>
            <a:r>
              <a:rPr lang="ru-RU" sz="1200" b="1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вероятностью наличия жизнеспособных микроорганизмов на медицинском изделии</a:t>
            </a:r>
            <a:r>
              <a:rPr lang="ru-RU" sz="12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/>
          </a:p>
        </p:txBody>
      </p:sp>
      <p:pic>
        <p:nvPicPr>
          <p:cNvPr id="1553" name="Google Shape;1553;p74"/>
          <p:cNvPicPr preferRelativeResize="0"/>
          <p:nvPr/>
        </p:nvPicPr>
        <p:blipFill rotWithShape="1">
          <a:blip r:embed="rId7">
            <a:alphaModFix/>
          </a:blip>
          <a:srcRect l="5133"/>
          <a:stretch/>
        </p:blipFill>
        <p:spPr>
          <a:xfrm>
            <a:off x="5750560" y="751840"/>
            <a:ext cx="3393439" cy="3486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684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59" name="Google Shape;1559;p75"/>
          <p:cNvSpPr/>
          <p:nvPr/>
        </p:nvSpPr>
        <p:spPr>
          <a:xfrm>
            <a:off x="0" y="741680"/>
            <a:ext cx="3049200" cy="3809683"/>
          </a:xfrm>
          <a:prstGeom prst="rect">
            <a:avLst/>
          </a:prstGeom>
          <a:solidFill>
            <a:srgbClr val="C7F3E6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0" name="Google Shape;1560;p75"/>
          <p:cNvSpPr/>
          <p:nvPr/>
        </p:nvSpPr>
        <p:spPr>
          <a:xfrm>
            <a:off x="6094800" y="741680"/>
            <a:ext cx="3049200" cy="380968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1" name="Google Shape;1561;p75"/>
          <p:cNvSpPr/>
          <p:nvPr/>
        </p:nvSpPr>
        <p:spPr>
          <a:xfrm>
            <a:off x="3047400" y="741680"/>
            <a:ext cx="3049200" cy="3809683"/>
          </a:xfrm>
          <a:prstGeom prst="rect">
            <a:avLst/>
          </a:prstGeom>
          <a:solidFill>
            <a:srgbClr val="ACEDDA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2" name="Google Shape;1562;p75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Валидация </a:t>
            </a:r>
            <a:r>
              <a:rPr lang="ru-RU" dirty="0" smtClean="0"/>
              <a:t>процесса стерилизации</a:t>
            </a:r>
            <a:endParaRPr lang="ru-RU" dirty="0"/>
          </a:p>
        </p:txBody>
      </p:sp>
      <p:sp>
        <p:nvSpPr>
          <p:cNvPr id="1567" name="Google Shape;1567;p75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563" name="Google Shape;1563;p7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6</a:t>
            </a:fld>
            <a:endParaRPr lang="ru-RU"/>
          </a:p>
        </p:txBody>
      </p:sp>
      <p:sp>
        <p:nvSpPr>
          <p:cNvPr id="1564" name="Google Shape;1564;p75"/>
          <p:cNvSpPr txBox="1"/>
          <p:nvPr/>
        </p:nvSpPr>
        <p:spPr>
          <a:xfrm>
            <a:off x="358775" y="853440"/>
            <a:ext cx="2618105" cy="3046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алидация —документированное подтверждение того, </a:t>
            </a:r>
            <a:b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что процесс стерилизации, проводимый в пределах установленных параметров</a:t>
            </a:r>
            <a:endParaRPr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ожет осуществляться эффективно</a:t>
            </a:r>
            <a:endParaRPr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 воспроизводимыми результатами </a:t>
            </a:r>
            <a:endParaRPr sz="14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 приводит к получению стерильного продукта</a:t>
            </a:r>
            <a:endParaRPr sz="14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5" name="Google Shape;1565;p75"/>
          <p:cNvSpPr txBox="1"/>
          <p:nvPr/>
        </p:nvSpPr>
        <p:spPr>
          <a:xfrm>
            <a:off x="3180080" y="853440"/>
            <a:ext cx="2733040" cy="3693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я процесса радиационной стерилизации необходима в следующих случаях: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 рамках подготовки к регистрации медицинского изделия в Росздравнадзоре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(Приказ от 19 января 2017 г. N 11н «Об утверждении требований к содержанию технической и эксплуатационной документации производителя (изготовителя) медицинского изделия»);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 рамках выполнения требований стандарта ISO 13485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оизводителями стерильных медицинских изделий, имеющих сертифицированную систему менеджмента качества - процессы стерилизации являются одними из наиболее критических операций, поэтому их необходимо валидировать;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ля демонстрации надзорным органам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ого, что процесс стерилизации неизменно выдаёт стерильный (т.е. безопасный) продукт.</a:t>
            </a:r>
            <a:endParaRPr/>
          </a:p>
        </p:txBody>
      </p:sp>
      <p:sp>
        <p:nvSpPr>
          <p:cNvPr id="1566" name="Google Shape;1566;p75"/>
          <p:cNvSpPr txBox="1"/>
          <p:nvPr/>
        </p:nvSpPr>
        <p:spPr>
          <a:xfrm>
            <a:off x="6253480" y="853440"/>
            <a:ext cx="2531745" cy="3693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ISO 13485:2016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«Изделия медицинские. Системы менеджмента качества. Требования для целей регулирования»;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ГОСТ ISO 11137-1-2011 [ISO 11137-1:2006]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«Стерилизация медицинской продукции. Радиационная стерилизация. Часть 1. Требования к разработке, валидации и текущему контролю процесса стерилизации медицинских изделий»;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ГОСТ Р 56431-2015 [GNTF/SG3/N99-10:2004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] «Система менеджмента качества. Изделия медицинские. Руководство по валидации процессов»;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ГОСТ Р ИСО 14937-2012 </a:t>
            </a: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«Стерилизация медицинской продукции. Общие требования к определению характеристик стерилизующего агента и к разработке, валидации и текущему контролю процесса стерилизации медицинских изделий».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2" name="Google Shape;1572;p7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Порядок выполнения работ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при </a:t>
            </a:r>
            <a:r>
              <a:rPr lang="ru-RU" dirty="0" err="1" smtClean="0">
                <a:solidFill>
                  <a:schemeClr val="accent6"/>
                </a:solidFill>
              </a:rPr>
              <a:t>валидации</a:t>
            </a:r>
            <a:r>
              <a:rPr lang="ru-RU" dirty="0" smtClean="0">
                <a:solidFill>
                  <a:schemeClr val="accent6"/>
                </a:solidFill>
              </a:rPr>
              <a:t> </a:t>
            </a:r>
            <a:r>
              <a:rPr lang="ru-RU" dirty="0" smtClean="0"/>
              <a:t>процесса стерилизации</a:t>
            </a:r>
            <a:endParaRPr lang="ru-RU" dirty="0"/>
          </a:p>
        </p:txBody>
      </p:sp>
      <p:sp>
        <p:nvSpPr>
          <p:cNvPr id="1577" name="Google Shape;1577;p76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573" name="Google Shape;1573;p7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7</a:t>
            </a:fld>
            <a:endParaRPr lang="ru-RU"/>
          </a:p>
        </p:txBody>
      </p:sp>
      <p:sp>
        <p:nvSpPr>
          <p:cNvPr id="1574" name="Google Shape;1574;p76"/>
          <p:cNvSpPr txBox="1"/>
          <p:nvPr/>
        </p:nvSpPr>
        <p:spPr>
          <a:xfrm>
            <a:off x="362888" y="1452246"/>
            <a:ext cx="2553032" cy="2492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бор входных данных: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ределяются на основе исходной информации: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У, международные и национальные стандарты, законодательные и другие обязательные требования;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ехнологические возможности  стерилизующей организации, требования к компетентности разработчиков</a:t>
            </a:r>
            <a:endParaRPr/>
          </a:p>
        </p:txBody>
      </p:sp>
      <p:sp>
        <p:nvSpPr>
          <p:cNvPr id="1575" name="Google Shape;1575;p76"/>
          <p:cNvSpPr txBox="1"/>
          <p:nvPr/>
        </p:nvSpPr>
        <p:spPr>
          <a:xfrm>
            <a:off x="3229444" y="1452246"/>
            <a:ext cx="2553032" cy="28315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ределение выходных данных: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характеристики услуги, включая функциональные и  эксплуатационные, характеристики безопасности и надёжности изделия;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рекомендации по смене упаковки, укладки продукции, моделирование другой упаковки;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методах и средствах проверки;</a:t>
            </a:r>
            <a:endParaRPr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ритерии приёмки.</a:t>
            </a:r>
            <a:endParaRPr/>
          </a:p>
        </p:txBody>
      </p:sp>
      <p:pic>
        <p:nvPicPr>
          <p:cNvPr id="1576" name="Google Shape;1576;p76"/>
          <p:cNvPicPr preferRelativeResize="0"/>
          <p:nvPr/>
        </p:nvPicPr>
        <p:blipFill rotWithShape="1">
          <a:blip r:embed="rId7">
            <a:alphaModFix/>
          </a:blip>
          <a:srcRect l="22598" r="32747"/>
          <a:stretch/>
        </p:blipFill>
        <p:spPr>
          <a:xfrm>
            <a:off x="6096000" y="0"/>
            <a:ext cx="3048000" cy="4550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6" name="Google Shape;1606;p77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582" name="Google Shape;1582;p77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8</a:t>
            </a:fld>
            <a:endParaRPr lang="ru-RU"/>
          </a:p>
        </p:txBody>
      </p:sp>
      <p:grpSp>
        <p:nvGrpSpPr>
          <p:cNvPr id="1583" name="Google Shape;1583;p77"/>
          <p:cNvGrpSpPr/>
          <p:nvPr/>
        </p:nvGrpSpPr>
        <p:grpSpPr>
          <a:xfrm>
            <a:off x="681971" y="441325"/>
            <a:ext cx="7540529" cy="4211444"/>
            <a:chOff x="530850" y="234725"/>
            <a:chExt cx="8186635" cy="4418035"/>
          </a:xfrm>
        </p:grpSpPr>
        <p:sp>
          <p:nvSpPr>
            <p:cNvPr id="1584" name="Google Shape;1584;p77"/>
            <p:cNvSpPr txBox="1"/>
            <p:nvPr/>
          </p:nvSpPr>
          <p:spPr>
            <a:xfrm>
              <a:off x="1797200" y="234725"/>
              <a:ext cx="5385300" cy="4833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457200" marR="0" lvl="0" indent="-317500" algn="ctr" rtl="0">
                <a:spcBef>
                  <a:spcPts val="0"/>
                </a:spcBef>
                <a:spcAft>
                  <a:spcPts val="0"/>
                </a:spcAft>
                <a:buClr>
                  <a:schemeClr val="accent5"/>
                </a:buClr>
                <a:buSzPts val="1400"/>
                <a:buFont typeface="Arial"/>
                <a:buAutoNum type="arabicPeriod"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Выбор метода определения стерилизующей дозы в соответствии с ГОСТ 11137-2-2011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5" name="Google Shape;1585;p77"/>
            <p:cNvSpPr txBox="1"/>
            <p:nvPr/>
          </p:nvSpPr>
          <p:spPr>
            <a:xfrm>
              <a:off x="1796112" y="889477"/>
              <a:ext cx="5386388" cy="371475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2. Определение средней бионагрузки</a:t>
              </a:r>
              <a:endParaRPr sz="1400" b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6" name="Google Shape;1586;p77"/>
            <p:cNvSpPr txBox="1"/>
            <p:nvPr/>
          </p:nvSpPr>
          <p:spPr>
            <a:xfrm>
              <a:off x="532801" y="1554324"/>
              <a:ext cx="353695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3. Получение проверочной дозы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7" name="Google Shape;1587;p77"/>
            <p:cNvSpPr txBox="1"/>
            <p:nvPr/>
          </p:nvSpPr>
          <p:spPr>
            <a:xfrm>
              <a:off x="1404556" y="4282872"/>
              <a:ext cx="6365875" cy="369888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11.  Описание условий стерилизации, параметров контроля процесса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8" name="Google Shape;1588;p77"/>
            <p:cNvSpPr txBox="1"/>
            <p:nvPr/>
          </p:nvSpPr>
          <p:spPr>
            <a:xfrm>
              <a:off x="532801" y="2199701"/>
              <a:ext cx="353695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4. Проведение эксперимента с проверочной дозой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89" name="Google Shape;1589;p77"/>
            <p:cNvSpPr txBox="1"/>
            <p:nvPr/>
          </p:nvSpPr>
          <p:spPr>
            <a:xfrm>
              <a:off x="530851" y="2843044"/>
              <a:ext cx="353695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5. Интерпретация результатов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0" name="Google Shape;1590;p77"/>
            <p:cNvSpPr txBox="1"/>
            <p:nvPr/>
          </p:nvSpPr>
          <p:spPr>
            <a:xfrm>
              <a:off x="530850" y="3533775"/>
              <a:ext cx="353695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6. Установление стерилизующей дозы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1" name="Google Shape;1591;p77"/>
            <p:cNvSpPr txBox="1"/>
            <p:nvPr/>
          </p:nvSpPr>
          <p:spPr>
            <a:xfrm>
              <a:off x="5034485" y="1579493"/>
              <a:ext cx="368300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7. Определение максимально-допустимой дозы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2" name="Google Shape;1592;p77"/>
            <p:cNvSpPr txBox="1"/>
            <p:nvPr/>
          </p:nvSpPr>
          <p:spPr>
            <a:xfrm>
              <a:off x="5034485" y="2199701"/>
              <a:ext cx="368300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8. Проведение эксперимента с инкрементальными дозами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3" name="Google Shape;1593;p77"/>
            <p:cNvSpPr txBox="1"/>
            <p:nvPr/>
          </p:nvSpPr>
          <p:spPr>
            <a:xfrm>
              <a:off x="5034485" y="2853824"/>
              <a:ext cx="368300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9. Интерпретация результатов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94" name="Google Shape;1594;p77"/>
            <p:cNvSpPr txBox="1"/>
            <p:nvPr/>
          </p:nvSpPr>
          <p:spPr>
            <a:xfrm>
              <a:off x="5034485" y="3506901"/>
              <a:ext cx="3683000" cy="48260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ru-RU" sz="1400" b="0">
                  <a:solidFill>
                    <a:schemeClr val="accent5"/>
                  </a:solidFill>
                  <a:latin typeface="Arial"/>
                  <a:ea typeface="Arial"/>
                  <a:cs typeface="Arial"/>
                  <a:sym typeface="Arial"/>
                </a:rPr>
                <a:t>10. Установление максимально-допустимой дозы</a:t>
              </a:r>
              <a:endParaRPr sz="2000" b="1">
                <a:solidFill>
                  <a:srgbClr val="008C9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595" name="Google Shape;1595;p77"/>
            <p:cNvCxnSpPr/>
            <p:nvPr/>
          </p:nvCxnSpPr>
          <p:spPr>
            <a:xfrm>
              <a:off x="4489305" y="716646"/>
              <a:ext cx="5999" cy="1947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596" name="Google Shape;1596;p77"/>
            <p:cNvCxnSpPr/>
            <p:nvPr/>
          </p:nvCxnSpPr>
          <p:spPr>
            <a:xfrm>
              <a:off x="2301276" y="1298123"/>
              <a:ext cx="0" cy="2562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597" name="Google Shape;1597;p77"/>
            <p:cNvCxnSpPr/>
            <p:nvPr/>
          </p:nvCxnSpPr>
          <p:spPr>
            <a:xfrm>
              <a:off x="6604925" y="1260952"/>
              <a:ext cx="1950" cy="326061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598" name="Google Shape;1598;p77"/>
            <p:cNvCxnSpPr>
              <a:stCxn id="1586" idx="2"/>
              <a:endCxn id="1588" idx="0"/>
            </p:cNvCxnSpPr>
            <p:nvPr/>
          </p:nvCxnSpPr>
          <p:spPr>
            <a:xfrm>
              <a:off x="2301276" y="2036924"/>
              <a:ext cx="0" cy="1629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599" name="Google Shape;1599;p77"/>
            <p:cNvCxnSpPr/>
            <p:nvPr/>
          </p:nvCxnSpPr>
          <p:spPr>
            <a:xfrm>
              <a:off x="2352574" y="2682301"/>
              <a:ext cx="0" cy="185999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0" name="Google Shape;1600;p77"/>
            <p:cNvCxnSpPr/>
            <p:nvPr/>
          </p:nvCxnSpPr>
          <p:spPr>
            <a:xfrm flipH="1">
              <a:off x="2348674" y="3304008"/>
              <a:ext cx="3900" cy="195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1" name="Google Shape;1601;p77"/>
            <p:cNvCxnSpPr/>
            <p:nvPr/>
          </p:nvCxnSpPr>
          <p:spPr>
            <a:xfrm>
              <a:off x="6604925" y="2062093"/>
              <a:ext cx="0" cy="137608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2" name="Google Shape;1602;p77"/>
            <p:cNvCxnSpPr/>
            <p:nvPr/>
          </p:nvCxnSpPr>
          <p:spPr>
            <a:xfrm>
              <a:off x="6606875" y="2667825"/>
              <a:ext cx="0" cy="186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3" name="Google Shape;1603;p77"/>
            <p:cNvCxnSpPr/>
            <p:nvPr/>
          </p:nvCxnSpPr>
          <p:spPr>
            <a:xfrm flipH="1">
              <a:off x="6604925" y="3337125"/>
              <a:ext cx="3900" cy="1950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4" name="Google Shape;1604;p77"/>
            <p:cNvCxnSpPr/>
            <p:nvPr/>
          </p:nvCxnSpPr>
          <p:spPr>
            <a:xfrm>
              <a:off x="6606875" y="4016638"/>
              <a:ext cx="0" cy="2562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605" name="Google Shape;1605;p77"/>
            <p:cNvCxnSpPr/>
            <p:nvPr/>
          </p:nvCxnSpPr>
          <p:spPr>
            <a:xfrm>
              <a:off x="2363673" y="4026672"/>
              <a:ext cx="0" cy="256200"/>
            </a:xfrm>
            <a:prstGeom prst="straightConnector1">
              <a:avLst/>
            </a:prstGeom>
            <a:noFill/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triangle" w="med" len="med"/>
            </a:ln>
          </p:spPr>
        </p:cxnSp>
      </p:grpSp>
    </p:spTree>
  </p:cSld>
  <p:clrMapOvr>
    <a:masterClrMapping/>
  </p:clrMapOvr>
  <p:transition spd="slow">
    <p:fade thruBlk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838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1" name="Google Shape;1611;p78"/>
          <p:cNvSpPr/>
          <p:nvPr/>
        </p:nvSpPr>
        <p:spPr>
          <a:xfrm>
            <a:off x="0" y="1131888"/>
            <a:ext cx="2286000" cy="3434792"/>
          </a:xfrm>
          <a:prstGeom prst="rect">
            <a:avLst/>
          </a:prstGeom>
          <a:solidFill>
            <a:srgbClr val="ACEDDA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2" name="Google Shape;1612;p78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Для определения стерилизующей дозы применяется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один из двух подходов: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613" name="Google Shape;1613;p78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14" name="Google Shape;1614;p78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19</a:t>
            </a:fld>
            <a:endParaRPr lang="ru-RU"/>
          </a:p>
        </p:txBody>
      </p:sp>
      <p:sp>
        <p:nvSpPr>
          <p:cNvPr id="1615" name="Google Shape;1615;p78"/>
          <p:cNvSpPr txBox="1"/>
          <p:nvPr/>
        </p:nvSpPr>
        <p:spPr>
          <a:xfrm>
            <a:off x="358775" y="1253580"/>
            <a:ext cx="1683385" cy="29654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Arial"/>
              <a:buNone/>
            </a:pPr>
            <a:r>
              <a:rPr lang="ru-RU" sz="18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01</a:t>
            </a:r>
            <a: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Получают данные по количеству бионагрузки и/или ее устойчивости к радиации и используют их для определения стерилизующей дозы Метод 1, Метод 2А, 2В ГОСТ ISO 11137-2.</a:t>
            </a:r>
            <a:endParaRPr sz="1000" b="1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1200"/>
              </a:spcAft>
              <a:buClr>
                <a:schemeClr val="accent5"/>
              </a:buClr>
              <a:buSzPts val="2000"/>
              <a:buFont typeface="Arial"/>
              <a:buNone/>
            </a:pPr>
            <a:r>
              <a:rPr lang="ru-RU" sz="2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02</a:t>
            </a:r>
            <a:r>
              <a:rPr lang="ru-RU" sz="12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/>
            </a:r>
            <a:br>
              <a:rPr lang="ru-RU" sz="12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Стерилизующую дозу выбирают из значений 25 или 15 кГр и обосновывают выбор. </a:t>
            </a:r>
            <a:endParaRPr sz="1000" b="1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6" name="Google Shape;1616;p78"/>
          <p:cNvSpPr txBox="1"/>
          <p:nvPr/>
        </p:nvSpPr>
        <p:spPr>
          <a:xfrm>
            <a:off x="2461260" y="1253580"/>
            <a:ext cx="5361305" cy="3662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 определении стерилизующей дозы необходимо обеспечить: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7" name="Google Shape;1617;p78"/>
          <p:cNvSpPr txBox="1"/>
          <p:nvPr/>
        </p:nvSpPr>
        <p:spPr>
          <a:xfrm>
            <a:off x="2461260" y="2992516"/>
            <a:ext cx="2052320" cy="1392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привлечение компетентной микробиологической лаборатории для проведения измерений бионагрузки в соответствии с ГОСТ ISO 11737-1 и испытаний стерильности в соответствии с ГОСТ ISO 11737-2</a:t>
            </a:r>
            <a:endParaRPr/>
          </a:p>
        </p:txBody>
      </p:sp>
      <p:sp>
        <p:nvSpPr>
          <p:cNvPr id="1618" name="Google Shape;1618;p78"/>
          <p:cNvSpPr txBox="1"/>
          <p:nvPr/>
        </p:nvSpPr>
        <p:spPr>
          <a:xfrm>
            <a:off x="4747260" y="2992516"/>
            <a:ext cx="1925320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репрезентативность продукции - ее соответствие той, которая будет обрабатываться в текущем процессе</a:t>
            </a:r>
            <a:endParaRPr/>
          </a:p>
        </p:txBody>
      </p:sp>
      <p:sp>
        <p:nvSpPr>
          <p:cNvPr id="1619" name="Google Shape;1619;p78"/>
          <p:cNvSpPr txBox="1"/>
          <p:nvPr/>
        </p:nvSpPr>
        <p:spPr>
          <a:xfrm>
            <a:off x="6974840" y="2992516"/>
            <a:ext cx="1810385" cy="1038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соответствующий источник радиации, способный геометрически и количественно точно обеспечить требуемую дозу</a:t>
            </a:r>
            <a:endParaRPr/>
          </a:p>
        </p:txBody>
      </p:sp>
      <p:pic>
        <p:nvPicPr>
          <p:cNvPr id="1620" name="Google Shape;1620;p78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" b="61"/>
          <a:stretch/>
        </p:blipFill>
        <p:spPr>
          <a:xfrm>
            <a:off x="2461260" y="1619834"/>
            <a:ext cx="1810800" cy="120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21" name="Google Shape;1621;p78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67" b="16666"/>
          <a:stretch/>
        </p:blipFill>
        <p:spPr>
          <a:xfrm>
            <a:off x="4747260" y="1619834"/>
            <a:ext cx="1810800" cy="120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22" name="Google Shape;1622;p78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983" b="6867"/>
          <a:stretch/>
        </p:blipFill>
        <p:spPr>
          <a:xfrm>
            <a:off x="6974840" y="1619834"/>
            <a:ext cx="1810385" cy="12069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B120475-7AA6-F1BA-B2A8-D482BBA14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диационная стерилизация медицинских изделий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53E3065-6C31-B400-4268-B937F77E1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90FE10A-9DDF-0455-1B3D-0B05BEEC35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500" b="44082"/>
          <a:stretch/>
        </p:blipFill>
        <p:spPr>
          <a:xfrm>
            <a:off x="0" y="0"/>
            <a:ext cx="9144000" cy="2037192"/>
          </a:xfrm>
          <a:prstGeom prst="rect">
            <a:avLst/>
          </a:prstGeom>
        </p:spPr>
      </p:pic>
      <p:sp>
        <p:nvSpPr>
          <p:cNvPr id="6" name="Заголовок 11">
            <a:extLst>
              <a:ext uri="{FF2B5EF4-FFF2-40B4-BE49-F238E27FC236}">
                <a16:creationId xmlns:a16="http://schemas.microsoft.com/office/drawing/2014/main" id="{9E308239-CEAA-50B0-0FE1-BD4B173B2C5C}"/>
              </a:ext>
            </a:extLst>
          </p:cNvPr>
          <p:cNvSpPr txBox="1">
            <a:spLocks/>
          </p:cNvSpPr>
          <p:nvPr/>
        </p:nvSpPr>
        <p:spPr>
          <a:xfrm>
            <a:off x="358775" y="339724"/>
            <a:ext cx="2689226" cy="615553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Наши </a:t>
            </a:r>
            <a:r>
              <a:rPr lang="ru-RU" kern="0" dirty="0">
                <a:solidFill>
                  <a:schemeClr val="accent6"/>
                </a:solidFill>
              </a:rPr>
              <a:t>договоренности</a:t>
            </a:r>
          </a:p>
        </p:txBody>
      </p:sp>
      <p:sp>
        <p:nvSpPr>
          <p:cNvPr id="7" name="Текст 12">
            <a:extLst>
              <a:ext uri="{FF2B5EF4-FFF2-40B4-BE49-F238E27FC236}">
                <a16:creationId xmlns:a16="http://schemas.microsoft.com/office/drawing/2014/main" id="{BA1A3FC6-C239-11F8-AB61-51ABF5128677}"/>
              </a:ext>
            </a:extLst>
          </p:cNvPr>
          <p:cNvSpPr txBox="1">
            <a:spLocks/>
          </p:cNvSpPr>
          <p:nvPr/>
        </p:nvSpPr>
        <p:spPr>
          <a:xfrm>
            <a:off x="354010" y="2701776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tx1"/>
                </a:solidFill>
              </a:rPr>
              <a:t>Следуем времени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AE942895-003E-5CA8-EC7E-0F517428B615}"/>
              </a:ext>
            </a:extLst>
          </p:cNvPr>
          <p:cNvSpPr txBox="1">
            <a:spLocks/>
          </p:cNvSpPr>
          <p:nvPr/>
        </p:nvSpPr>
        <p:spPr>
          <a:xfrm>
            <a:off x="3293591" y="2701776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tx1"/>
                </a:solidFill>
              </a:rPr>
              <a:t>Участвуем в опросах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9" name="Текст 14">
            <a:extLst>
              <a:ext uri="{FF2B5EF4-FFF2-40B4-BE49-F238E27FC236}">
                <a16:creationId xmlns:a16="http://schemas.microsoft.com/office/drawing/2014/main" id="{4CCFABA9-1142-0276-5E65-9368A16D7432}"/>
              </a:ext>
            </a:extLst>
          </p:cNvPr>
          <p:cNvSpPr txBox="1">
            <a:spLocks/>
          </p:cNvSpPr>
          <p:nvPr/>
        </p:nvSpPr>
        <p:spPr>
          <a:xfrm>
            <a:off x="6233171" y="2701776"/>
            <a:ext cx="2556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spcAft>
                <a:spcPts val="0"/>
              </a:spcAft>
            </a:pPr>
            <a:r>
              <a:rPr lang="ru-RU" kern="0" dirty="0" smtClean="0">
                <a:solidFill>
                  <a:schemeClr val="tx1"/>
                </a:solidFill>
              </a:rPr>
              <a:t>Когда все «зависло»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smtClean="0">
                <a:solidFill>
                  <a:schemeClr val="tx1"/>
                </a:solidFill>
              </a:rPr>
              <a:t>Подожди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smtClean="0">
                <a:solidFill>
                  <a:schemeClr val="tx1"/>
                </a:solidFill>
              </a:rPr>
              <a:t>Обнови страницу</a:t>
            </a:r>
          </a:p>
          <a:p>
            <a:pPr marL="173038" indent="-173038" defTabSz="9144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b="0" kern="0" dirty="0" err="1" smtClean="0">
                <a:solidFill>
                  <a:schemeClr val="tx1"/>
                </a:solidFill>
              </a:rPr>
              <a:t>Переподключись</a:t>
            </a:r>
            <a:endParaRPr lang="ru-RU" sz="1000" b="0" kern="0" dirty="0">
              <a:solidFill>
                <a:schemeClr val="tx1"/>
              </a:solidFill>
            </a:endParaRPr>
          </a:p>
        </p:txBody>
      </p:sp>
      <p:sp>
        <p:nvSpPr>
          <p:cNvPr id="10" name="Текст 15">
            <a:extLst>
              <a:ext uri="{FF2B5EF4-FFF2-40B4-BE49-F238E27FC236}">
                <a16:creationId xmlns:a16="http://schemas.microsoft.com/office/drawing/2014/main" id="{E6710147-0DA1-7FE1-C01B-134CBB105098}"/>
              </a:ext>
            </a:extLst>
          </p:cNvPr>
          <p:cNvSpPr txBox="1">
            <a:spLocks/>
          </p:cNvSpPr>
          <p:nvPr/>
        </p:nvSpPr>
        <p:spPr>
          <a:xfrm>
            <a:off x="354010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tx1"/>
                </a:solidFill>
              </a:rPr>
              <a:t>Пишем в чате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11" name="Текст 16">
            <a:extLst>
              <a:ext uri="{FF2B5EF4-FFF2-40B4-BE49-F238E27FC236}">
                <a16:creationId xmlns:a16="http://schemas.microsoft.com/office/drawing/2014/main" id="{4DDD116F-C34D-6884-8C87-E780DE6337D2}"/>
              </a:ext>
            </a:extLst>
          </p:cNvPr>
          <p:cNvSpPr txBox="1">
            <a:spLocks/>
          </p:cNvSpPr>
          <p:nvPr/>
        </p:nvSpPr>
        <p:spPr>
          <a:xfrm>
            <a:off x="3293591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tx1"/>
                </a:solidFill>
              </a:rPr>
              <a:t>Выражаем эмоции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12" name="Текст 17">
            <a:extLst>
              <a:ext uri="{FF2B5EF4-FFF2-40B4-BE49-F238E27FC236}">
                <a16:creationId xmlns:a16="http://schemas.microsoft.com/office/drawing/2014/main" id="{E83718ED-01A2-A3C1-1E6C-58931B8CD910}"/>
              </a:ext>
            </a:extLst>
          </p:cNvPr>
          <p:cNvSpPr txBox="1">
            <a:spLocks/>
          </p:cNvSpPr>
          <p:nvPr/>
        </p:nvSpPr>
        <p:spPr>
          <a:xfrm>
            <a:off x="6233171" y="4063795"/>
            <a:ext cx="2556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dirty="0" smtClean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dirty="0" smtClean="0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dirty="0" smtClean="0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dirty="0">
                <a:solidFill>
                  <a:schemeClr val="tx2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tx1"/>
                </a:solidFill>
              </a:rPr>
              <a:t>Ведущий вернется </a:t>
            </a:r>
            <a:r>
              <a:rPr lang="ru-RU" kern="0" dirty="0" smtClean="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endParaRPr lang="ru-RU" kern="0" dirty="0">
              <a:solidFill>
                <a:schemeClr val="tx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0BE964F-D498-E1AE-0296-48CF24BBB6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590" y="2118125"/>
            <a:ext cx="541373" cy="54137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9403B20-6120-7BF6-AEB1-6B3AD3FC77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590" y="3525864"/>
            <a:ext cx="541373" cy="54137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BCFE865-379B-9080-4C9D-F8AD7753CA5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09" y="3525864"/>
            <a:ext cx="541373" cy="54137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0BBF75F-D193-7914-F19E-E504B69F3DC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170" y="3525864"/>
            <a:ext cx="541373" cy="541373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A54B321-2BC2-9588-3C1C-476101E0268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09" y="2118125"/>
            <a:ext cx="541373" cy="541373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321F9F4-3E72-2DDE-1C9A-7BB6DB0A14C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170" y="2118125"/>
            <a:ext cx="541373" cy="54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13347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med">
        <p15:prstTrans prst="pageCurlDouble"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7" name="Google Shape;1627;p79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Метод 1 (п. 7 ГОСТ ISO 11137-2)</a:t>
            </a:r>
            <a:endParaRPr lang="ru-RU"/>
          </a:p>
        </p:txBody>
      </p:sp>
      <p:sp>
        <p:nvSpPr>
          <p:cNvPr id="1628" name="Google Shape;1628;p79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29" name="Google Shape;1629;p79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0</a:t>
            </a:fld>
            <a:endParaRPr lang="ru-RU"/>
          </a:p>
        </p:txBody>
      </p:sp>
      <p:pic>
        <p:nvPicPr>
          <p:cNvPr id="1630" name="Google Shape;1630;p79"/>
          <p:cNvPicPr preferRelativeResize="0"/>
          <p:nvPr/>
        </p:nvPicPr>
        <p:blipFill rotWithShape="1">
          <a:blip r:embed="rId3">
            <a:alphaModFix/>
          </a:blip>
          <a:srcRect l="27849" r="27849"/>
          <a:stretch/>
        </p:blipFill>
        <p:spPr>
          <a:xfrm>
            <a:off x="4572000" y="0"/>
            <a:ext cx="4572000" cy="455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631" name="Google Shape;1631;p79"/>
          <p:cNvSpPr txBox="1"/>
          <p:nvPr/>
        </p:nvSpPr>
        <p:spPr>
          <a:xfrm>
            <a:off x="362888" y="1131888"/>
            <a:ext cx="4005912" cy="30931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снован на экспериментально установленной зависимости уровня бионагрузки от воздействующей дозы.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ыбирается минимум 10 изделий из одной партии изделий, определяется средняя бионагрузка на партии изделий.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тбирается 100 образцов изделий из данной партии и облучается проверочной дозой, соответствующей  УС=1х10</a:t>
            </a:r>
            <a:r>
              <a:rPr lang="ru-RU" sz="1200" baseline="30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-2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Уровень обеспечения стерильности продукции (УС) – параметр, который определяет вероятность наличия жизнеспособных микроорганизмов на отдельном изделии. Предельное значение УС в РФ 1х10</a:t>
            </a:r>
            <a:r>
              <a:rPr lang="ru-RU" sz="1200" baseline="30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-6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 .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954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6" name="Google Shape;1636;p80"/>
          <p:cNvSpPr/>
          <p:nvPr/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37" name="Google Shape;1637;p80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Почему </a:t>
            </a:r>
            <a:r>
              <a:rPr lang="ru-RU" dirty="0" smtClean="0">
                <a:solidFill>
                  <a:schemeClr val="accent6"/>
                </a:solidFill>
              </a:rPr>
              <a:t>проверочная</a:t>
            </a:r>
            <a:r>
              <a:rPr lang="ru-RU" dirty="0" smtClean="0"/>
              <a:t> доза?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638" name="Google Shape;1638;p80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39" name="Google Shape;1639;p80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1</a:t>
            </a:fld>
            <a:endParaRPr lang="ru-RU"/>
          </a:p>
        </p:txBody>
      </p:sp>
      <p:sp>
        <p:nvSpPr>
          <p:cNvPr id="1640" name="Google Shape;1640;p80"/>
          <p:cNvSpPr txBox="1"/>
          <p:nvPr/>
        </p:nvSpPr>
        <p:spPr>
          <a:xfrm>
            <a:off x="362888" y="1020510"/>
            <a:ext cx="4005912" cy="23083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ямой контроль стерильности затруднен, так как для подтверждения УС=1х10</a:t>
            </a:r>
            <a:r>
              <a:rPr lang="ru-RU" sz="1200" baseline="30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-6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необходимо протестировать на стерильность 1 млн изделий.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блучение проверочной дозой, соответствующей УС=1х10</a:t>
            </a:r>
            <a:r>
              <a:rPr lang="ru-RU" sz="1200" baseline="30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-2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, дает возможность проверить на стерильность не миллион, а сто изделий.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Если получено не более двух положительных результатов из 100 проведенных испытаний на стерильность, для данного уровня бионагрузки устанавливается стерилизующая доза.</a:t>
            </a:r>
            <a:endParaRPr sz="12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41" name="Google Shape;1641;p80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7564" y="290195"/>
            <a:ext cx="4039261" cy="3659320"/>
          </a:xfrm>
          <a:prstGeom prst="rect">
            <a:avLst/>
          </a:prstGeom>
          <a:noFill/>
          <a:ln>
            <a:noFill/>
          </a:ln>
          <a:effectLst>
            <a:outerShdw blurRad="368300" dist="38100" dir="5400000" algn="t" rotWithShape="0">
              <a:srgbClr val="000000">
                <a:alpha val="33725"/>
              </a:srgbClr>
            </a:outerShdw>
          </a:effectLst>
        </p:spPr>
      </p:pic>
      <p:sp>
        <p:nvSpPr>
          <p:cNvPr id="1642" name="Google Shape;1642;p80"/>
          <p:cNvSpPr txBox="1"/>
          <p:nvPr/>
        </p:nvSpPr>
        <p:spPr>
          <a:xfrm>
            <a:off x="0" y="3711350"/>
            <a:ext cx="9144000" cy="822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Например: для уровня бионагрузки – 1 КОЕ/изд:</a:t>
            </a:r>
            <a:endParaRPr/>
          </a:p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 Дпров. = 3 кГр, Д стер.= 14,2 кГр.</a:t>
            </a:r>
            <a:endParaRPr sz="18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23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47" name="Google Shape;1647;p81"/>
          <p:cNvSpPr/>
          <p:nvPr/>
        </p:nvSpPr>
        <p:spPr>
          <a:xfrm>
            <a:off x="0" y="1131888"/>
            <a:ext cx="2854960" cy="3434792"/>
          </a:xfrm>
          <a:prstGeom prst="rect">
            <a:avLst/>
          </a:prstGeom>
          <a:solidFill>
            <a:srgbClr val="ACEDDA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8" name="Google Shape;1648;p8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Установление максимально-допустимой дозы </a:t>
            </a:r>
            <a:r>
              <a:rPr lang="ru-RU" dirty="0" err="1" smtClean="0">
                <a:solidFill>
                  <a:schemeClr val="accent6"/>
                </a:solidFill>
              </a:rPr>
              <a:t>Dмакс.доп</a:t>
            </a:r>
            <a:r>
              <a:rPr lang="ru-RU" dirty="0" smtClean="0">
                <a:solidFill>
                  <a:schemeClr val="accent6"/>
                </a:solidFill>
              </a:rPr>
              <a:t>.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/>
              <a:t>(п. 8.1 ГОСТ ISO 11137-1)</a:t>
            </a:r>
            <a:endParaRPr lang="ru-RU" dirty="0"/>
          </a:p>
        </p:txBody>
      </p:sp>
      <p:sp>
        <p:nvSpPr>
          <p:cNvPr id="1649" name="Google Shape;1649;p81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50" name="Google Shape;1650;p81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2</a:t>
            </a:fld>
            <a:endParaRPr lang="ru-RU"/>
          </a:p>
        </p:txBody>
      </p:sp>
      <p:sp>
        <p:nvSpPr>
          <p:cNvPr id="1651" name="Google Shape;1651;p81"/>
          <p:cNvSpPr txBox="1"/>
          <p:nvPr/>
        </p:nvSpPr>
        <p:spPr>
          <a:xfrm>
            <a:off x="358775" y="1253580"/>
            <a:ext cx="2425065" cy="3293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Для установления максимальной допустимой дозы образцы облучают тремя инкрементальными (повышенными) дозами.</a:t>
            </a:r>
            <a:endParaRPr/>
          </a:p>
          <a:p>
            <a:pPr marL="0" marR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Для каждого виды изделия рассчитываются свои инкрементальные дозы.</a:t>
            </a:r>
            <a:endParaRPr/>
          </a:p>
          <a:p>
            <a:pPr marL="0" marR="0" lvl="0" indent="0" algn="l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ru-RU" sz="10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После обработки максимально допустимой дозой, продукция должна соответствовать установленным функциональным требованиям на протяжении всего определенного срока службы (нетоксичность, апирогенность, отсутствие раздражающего действия, сохранение технических свойств).</a:t>
            </a:r>
            <a:endParaRPr sz="1000" b="1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52" name="Google Shape;1652;p81"/>
          <p:cNvSpPr txBox="1"/>
          <p:nvPr/>
        </p:nvSpPr>
        <p:spPr>
          <a:xfrm>
            <a:off x="3048000" y="1253580"/>
            <a:ext cx="5848985" cy="3662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 определении максимально допустимой дозы необходимо обеспечить:</a:t>
            </a:r>
            <a:endParaRPr/>
          </a:p>
        </p:txBody>
      </p:sp>
      <p:sp>
        <p:nvSpPr>
          <p:cNvPr id="1653" name="Google Shape;1653;p81"/>
          <p:cNvSpPr txBox="1"/>
          <p:nvPr/>
        </p:nvSpPr>
        <p:spPr>
          <a:xfrm>
            <a:off x="3048000" y="2992516"/>
            <a:ext cx="1816087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привлечение учреждения, способного произвести оценку продукции с точки зрения ее назначения</a:t>
            </a:r>
            <a:endParaRPr/>
          </a:p>
        </p:txBody>
      </p:sp>
      <p:sp>
        <p:nvSpPr>
          <p:cNvPr id="1654" name="Google Shape;1654;p81"/>
          <p:cNvSpPr txBox="1"/>
          <p:nvPr/>
        </p:nvSpPr>
        <p:spPr>
          <a:xfrm>
            <a:off x="5011420" y="2992516"/>
            <a:ext cx="1703705" cy="1038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репрезентативность продукции - ее соответствие той, которая будет обрабатываться в текущем процессе</a:t>
            </a:r>
            <a:endParaRPr/>
          </a:p>
        </p:txBody>
      </p:sp>
      <p:sp>
        <p:nvSpPr>
          <p:cNvPr id="1655" name="Google Shape;1655;p81"/>
          <p:cNvSpPr txBox="1"/>
          <p:nvPr/>
        </p:nvSpPr>
        <p:spPr>
          <a:xfrm>
            <a:off x="6974840" y="2992516"/>
            <a:ext cx="1810385" cy="1038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0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соответствующий источник радиации, способный геометрически и количественно точно обеспечить требуемую дозу</a:t>
            </a:r>
            <a:endParaRPr/>
          </a:p>
        </p:txBody>
      </p:sp>
      <p:pic>
        <p:nvPicPr>
          <p:cNvPr id="1656" name="Google Shape;1656;p81"/>
          <p:cNvPicPr preferRelativeResize="0"/>
          <p:nvPr/>
        </p:nvPicPr>
        <p:blipFill rotWithShape="1">
          <a:blip r:embed="rId7">
            <a:alphaModFix/>
          </a:blip>
          <a:srcRect t="60" b="61"/>
          <a:stretch/>
        </p:blipFill>
        <p:spPr>
          <a:xfrm>
            <a:off x="3048000" y="1619834"/>
            <a:ext cx="1810800" cy="120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7" name="Google Shape;1657;p81"/>
          <p:cNvPicPr preferRelativeResize="0"/>
          <p:nvPr/>
        </p:nvPicPr>
        <p:blipFill rotWithShape="1">
          <a:blip r:embed="rId8">
            <a:alphaModFix/>
          </a:blip>
          <a:srcRect t="16667" b="16666"/>
          <a:stretch/>
        </p:blipFill>
        <p:spPr>
          <a:xfrm>
            <a:off x="5011420" y="1619834"/>
            <a:ext cx="1810800" cy="120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58" name="Google Shape;1658;p81"/>
          <p:cNvPicPr preferRelativeResize="0"/>
          <p:nvPr/>
        </p:nvPicPr>
        <p:blipFill rotWithShape="1">
          <a:blip r:embed="rId9">
            <a:alphaModFix/>
          </a:blip>
          <a:srcRect t="7983" b="6867"/>
          <a:stretch/>
        </p:blipFill>
        <p:spPr>
          <a:xfrm>
            <a:off x="6974840" y="1619834"/>
            <a:ext cx="1810385" cy="12069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3" name="Google Shape;1663;p8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Что происходит при неправильно выполненной валидации или при отсутствии валидации? </a:t>
            </a:r>
            <a:endParaRPr lang="ru-RU"/>
          </a:p>
        </p:txBody>
      </p:sp>
      <p:sp>
        <p:nvSpPr>
          <p:cNvPr id="1664" name="Google Shape;1664;p82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65" name="Google Shape;1665;p82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3</a:t>
            </a:fld>
            <a:endParaRPr lang="ru-RU"/>
          </a:p>
        </p:txBody>
      </p:sp>
    </p:spTree>
  </p:cSld>
  <p:clrMapOvr>
    <a:masterClrMapping/>
  </p:clrMapOvr>
  <p:transition spd="slow">
    <p:fade thruBlk="1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1465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70" name="Google Shape;1670;p83"/>
          <p:cNvSpPr/>
          <p:nvPr/>
        </p:nvSpPr>
        <p:spPr>
          <a:xfrm>
            <a:off x="0" y="1615464"/>
            <a:ext cx="4572000" cy="2935899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1" name="Google Shape;1671;p83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1. Появление </a:t>
            </a:r>
            <a:r>
              <a:rPr lang="ru-RU" dirty="0" smtClean="0">
                <a:solidFill>
                  <a:schemeClr val="accent6"/>
                </a:solidFill>
              </a:rPr>
              <a:t>нестерильных</a:t>
            </a:r>
            <a:r>
              <a:rPr lang="ru-RU" dirty="0" smtClean="0"/>
              <a:t> медицинских изделий в стационарах</a:t>
            </a:r>
            <a:endParaRPr lang="ru-RU" dirty="0"/>
          </a:p>
        </p:txBody>
      </p:sp>
      <p:sp>
        <p:nvSpPr>
          <p:cNvPr id="1672" name="Google Shape;1672;p8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4</a:t>
            </a:fld>
            <a:endParaRPr lang="ru-RU"/>
          </a:p>
        </p:txBody>
      </p:sp>
      <p:sp>
        <p:nvSpPr>
          <p:cNvPr id="1673" name="Google Shape;1673;p83"/>
          <p:cNvSpPr txBox="1"/>
          <p:nvPr/>
        </p:nvSpPr>
        <p:spPr>
          <a:xfrm>
            <a:off x="358774" y="747863"/>
            <a:ext cx="7667625" cy="784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сновной риск нарушения качества процесса стерилизации – появление нестерильных медицинских изделий, приводящих к развитию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нутрибольничных инфекций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и использовании.</a:t>
            </a:r>
            <a:endParaRPr/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нутрибольничные инфекции являются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олоссальной проблемой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ля системы здравоохранения.</a:t>
            </a:r>
            <a:endParaRPr/>
          </a:p>
        </p:txBody>
      </p:sp>
      <p:pic>
        <p:nvPicPr>
          <p:cNvPr id="1674" name="Google Shape;1674;p83"/>
          <p:cNvPicPr preferRelativeResize="0"/>
          <p:nvPr/>
        </p:nvPicPr>
        <p:blipFill rotWithShape="1">
          <a:blip r:embed="rId7">
            <a:alphaModFix/>
          </a:blip>
          <a:srcRect l="7447" t="3018" r="8528" b="4086"/>
          <a:stretch/>
        </p:blipFill>
        <p:spPr>
          <a:xfrm>
            <a:off x="358774" y="1736784"/>
            <a:ext cx="3378923" cy="269297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75" name="Google Shape;1675;p8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799774" y="1733459"/>
            <a:ext cx="3985451" cy="2696301"/>
          </a:xfrm>
          <a:prstGeom prst="rect">
            <a:avLst/>
          </a:prstGeom>
          <a:noFill/>
          <a:ln>
            <a:noFill/>
          </a:ln>
        </p:spPr>
      </p:pic>
      <p:sp>
        <p:nvSpPr>
          <p:cNvPr id="1676" name="Google Shape;1676;p83"/>
          <p:cNvSpPr txBox="1"/>
          <p:nvPr/>
        </p:nvSpPr>
        <p:spPr>
          <a:xfrm>
            <a:off x="1689315" y="4551363"/>
            <a:ext cx="5757965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</a:pPr>
            <a:r>
              <a:rPr lang="ru-RU" sz="900" i="1" baseline="300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r>
              <a:rPr lang="ru-RU" sz="9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Приведена неофициальная статистика. Официально в РФ ~1 ВБИ на 1000 пациентов. Проблема некорректной статистики по ВБИ признана на уровне Минздрава и </a:t>
            </a:r>
            <a:r>
              <a:rPr lang="ru-RU" sz="900" i="1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оспотребнадзора</a:t>
            </a:r>
            <a:r>
              <a:rPr lang="ru-RU" sz="9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. Приведена оценка реального уровня ВБИ на основании расчетов НИИ Эпидемиологии </a:t>
            </a:r>
            <a:r>
              <a:rPr lang="ru-RU" sz="900" i="1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оспотребнадзора</a:t>
            </a:r>
            <a:endParaRPr sz="900" i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7" name="Google Shape;1677;p83"/>
          <p:cNvSpPr/>
          <p:nvPr/>
        </p:nvSpPr>
        <p:spPr>
          <a:xfrm>
            <a:off x="4572000" y="1615464"/>
            <a:ext cx="4572000" cy="2935899"/>
          </a:xfrm>
          <a:prstGeom prst="rect">
            <a:avLst/>
          </a:prstGeom>
          <a:solidFill>
            <a:srgbClr val="BFBFBF">
              <a:alpha val="31764"/>
            </a:srgbClr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059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3" name="Google Shape;1683;p8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ПРИЧИНА: </a:t>
            </a:r>
            <a:r>
              <a:rPr lang="en-US" dirty="0" smtClean="0">
                <a:solidFill>
                  <a:schemeClr val="accent6"/>
                </a:solidFill>
              </a:rPr>
              <a:t>D</a:t>
            </a:r>
            <a:r>
              <a:rPr lang="ru-RU" dirty="0" smtClean="0">
                <a:solidFill>
                  <a:schemeClr val="accent6"/>
                </a:solidFill>
              </a:rPr>
              <a:t>мин &lt; </a:t>
            </a:r>
            <a:r>
              <a:rPr lang="en-US" dirty="0" smtClean="0">
                <a:solidFill>
                  <a:schemeClr val="accent6"/>
                </a:solidFill>
              </a:rPr>
              <a:t>D</a:t>
            </a:r>
            <a:r>
              <a:rPr lang="ru-RU" dirty="0" err="1" smtClean="0">
                <a:solidFill>
                  <a:schemeClr val="accent6"/>
                </a:solidFill>
              </a:rPr>
              <a:t>ст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684" name="Google Shape;1684;p84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85" name="Google Shape;1685;p84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5</a:t>
            </a:fld>
            <a:endParaRPr lang="ru-RU"/>
          </a:p>
        </p:txBody>
      </p:sp>
      <p:sp>
        <p:nvSpPr>
          <p:cNvPr id="1686" name="Google Shape;1686;p84"/>
          <p:cNvSpPr txBox="1"/>
          <p:nvPr/>
        </p:nvSpPr>
        <p:spPr>
          <a:xfrm>
            <a:off x="358774" y="747863"/>
            <a:ext cx="7667625" cy="6001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оза, полученная изделием,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меньше значения стерилизующей дозы.</a:t>
            </a:r>
            <a:endParaRPr/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ледствие – изделие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едооблучено,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в транспортном коробе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могут быть нестерильные изделия.</a:t>
            </a:r>
            <a:endParaRPr/>
          </a:p>
        </p:txBody>
      </p:sp>
      <p:pic>
        <p:nvPicPr>
          <p:cNvPr id="1687" name="Google Shape;1687;p84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58774" y="1527174"/>
            <a:ext cx="8438091" cy="2486025"/>
          </a:xfrm>
          <a:prstGeom prst="rect">
            <a:avLst/>
          </a:prstGeom>
          <a:noFill/>
          <a:ln>
            <a:noFill/>
          </a:ln>
        </p:spPr>
      </p:pic>
      <p:sp>
        <p:nvSpPr>
          <p:cNvPr id="1688" name="Google Shape;1688;p84"/>
          <p:cNvSpPr txBox="1"/>
          <p:nvPr/>
        </p:nvSpPr>
        <p:spPr>
          <a:xfrm>
            <a:off x="358775" y="4081542"/>
            <a:ext cx="242506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лесневые грибы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9" name="Google Shape;1689;p84"/>
          <p:cNvSpPr txBox="1"/>
          <p:nvPr/>
        </p:nvSpPr>
        <p:spPr>
          <a:xfrm>
            <a:off x="3359467" y="4081542"/>
            <a:ext cx="242506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МАФАнМ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0" name="Google Shape;1690;p84"/>
          <p:cNvSpPr txBox="1"/>
          <p:nvPr/>
        </p:nvSpPr>
        <p:spPr>
          <a:xfrm>
            <a:off x="6329679" y="4081542"/>
            <a:ext cx="242506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Золотистый стафиллококк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371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95" name="Google Shape;1695;p85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2. </a:t>
            </a:r>
            <a:r>
              <a:rPr lang="ru-RU" dirty="0" smtClean="0">
                <a:solidFill>
                  <a:schemeClr val="accent6"/>
                </a:solidFill>
              </a:rPr>
              <a:t>Несоответствие</a:t>
            </a:r>
            <a:r>
              <a:rPr lang="ru-RU" dirty="0" smtClean="0"/>
              <a:t> функциональных и эксплуатационных </a:t>
            </a:r>
            <a:br>
              <a:rPr lang="ru-RU" dirty="0" smtClean="0"/>
            </a:br>
            <a:r>
              <a:rPr lang="ru-RU" dirty="0" smtClean="0"/>
              <a:t>свойств изделия</a:t>
            </a:r>
            <a:endParaRPr lang="ru-RU" dirty="0"/>
          </a:p>
        </p:txBody>
      </p:sp>
      <p:sp>
        <p:nvSpPr>
          <p:cNvPr id="1696" name="Google Shape;1696;p85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697" name="Google Shape;1697;p8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6</a:t>
            </a:fld>
            <a:endParaRPr lang="ru-RU"/>
          </a:p>
        </p:txBody>
      </p:sp>
      <p:pic>
        <p:nvPicPr>
          <p:cNvPr id="1698" name="Google Shape;1698;p85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470" t="12456" b="14600"/>
          <a:stretch/>
        </p:blipFill>
        <p:spPr>
          <a:xfrm>
            <a:off x="6492241" y="1031471"/>
            <a:ext cx="2322000" cy="130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9" name="Google Shape;1699;p85"/>
          <p:cNvPicPr preferRelativeResize="0"/>
          <p:nvPr/>
        </p:nvPicPr>
        <p:blipFill rotWithShape="1">
          <a:blip r:embed="rId8">
            <a:alphaModFix/>
          </a:blip>
          <a:srcRect t="7634" r="76934" b="30795"/>
          <a:stretch/>
        </p:blipFill>
        <p:spPr>
          <a:xfrm>
            <a:off x="358775" y="2837944"/>
            <a:ext cx="2322000" cy="130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0" name="Google Shape;1700;p85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018" r="70575" b="11018"/>
          <a:stretch/>
        </p:blipFill>
        <p:spPr>
          <a:xfrm>
            <a:off x="358775" y="1031471"/>
            <a:ext cx="2322000" cy="130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1" name="Google Shape;1701;p85"/>
          <p:cNvPicPr preferRelativeResize="0"/>
          <p:nvPr/>
        </p:nvPicPr>
        <p:blipFill rotWithShape="1"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709" t="14219" r="34282" b="14219"/>
          <a:stretch/>
        </p:blipFill>
        <p:spPr>
          <a:xfrm>
            <a:off x="3411000" y="1031471"/>
            <a:ext cx="2322000" cy="130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2" name="Google Shape;1702;p85"/>
          <p:cNvPicPr preferRelativeResize="0"/>
          <p:nvPr/>
        </p:nvPicPr>
        <p:blipFill rotWithShape="1">
          <a:blip r:embed="rId8">
            <a:alphaModFix/>
          </a:blip>
          <a:srcRect l="77002" t="8359" b="30249"/>
          <a:stretch/>
        </p:blipFill>
        <p:spPr>
          <a:xfrm>
            <a:off x="6492241" y="2837944"/>
            <a:ext cx="2322000" cy="130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3" name="Google Shape;1703;p85"/>
          <p:cNvPicPr preferRelativeResize="0"/>
          <p:nvPr/>
        </p:nvPicPr>
        <p:blipFill rotWithShape="1">
          <a:blip r:embed="rId11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000" t="11912" r="33384" b="14374"/>
          <a:stretch/>
        </p:blipFill>
        <p:spPr>
          <a:xfrm>
            <a:off x="3411000" y="2837944"/>
            <a:ext cx="2322000" cy="1306125"/>
          </a:xfrm>
          <a:prstGeom prst="rect">
            <a:avLst/>
          </a:prstGeom>
          <a:noFill/>
          <a:ln>
            <a:noFill/>
          </a:ln>
        </p:spPr>
      </p:pic>
      <p:sp>
        <p:nvSpPr>
          <p:cNvPr id="1704" name="Google Shape;1704;p85"/>
          <p:cNvSpPr txBox="1"/>
          <p:nvPr/>
        </p:nvSpPr>
        <p:spPr>
          <a:xfrm>
            <a:off x="436450" y="2348557"/>
            <a:ext cx="6073800" cy="176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F50"/>
              </a:buClr>
              <a:buSzPts val="1000"/>
              <a:buFont typeface="Arial"/>
              <a:buNone/>
            </a:pPr>
            <a:r>
              <a:rPr lang="ru-RU" sz="10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Пожелтение продукции из марли, вздутие и разрыв индивидуальной упаковки</a:t>
            </a:r>
            <a:endParaRPr sz="1000" b="1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5" name="Google Shape;1705;p85"/>
          <p:cNvSpPr txBox="1"/>
          <p:nvPr/>
        </p:nvSpPr>
        <p:spPr>
          <a:xfrm>
            <a:off x="6492241" y="2348557"/>
            <a:ext cx="2267000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100"/>
              <a:buFont typeface="Arial"/>
              <a:buNone/>
            </a:pPr>
            <a:r>
              <a:rPr lang="ru-RU" sz="10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Снижение значений по параметру «разрывная нагрузка»</a:t>
            </a:r>
            <a:endParaRPr sz="1000" b="1">
              <a:solidFill>
                <a:srgbClr val="333F5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6" name="Google Shape;1706;p85"/>
          <p:cNvSpPr txBox="1"/>
          <p:nvPr/>
        </p:nvSpPr>
        <p:spPr>
          <a:xfrm>
            <a:off x="436450" y="4166620"/>
            <a:ext cx="2103120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F50"/>
              </a:buClr>
              <a:buSzPts val="1000"/>
              <a:buFont typeface="Arial"/>
              <a:buNone/>
            </a:pPr>
            <a:r>
              <a:rPr lang="ru-RU" sz="10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Пожелтение и помутнение полимерной продукции</a:t>
            </a:r>
            <a:endParaRPr sz="1000" b="1">
              <a:solidFill>
                <a:srgbClr val="333F5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7" name="Google Shape;1707;p85"/>
          <p:cNvSpPr txBox="1"/>
          <p:nvPr/>
        </p:nvSpPr>
        <p:spPr>
          <a:xfrm>
            <a:off x="2899030" y="4166620"/>
            <a:ext cx="3345940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F50"/>
              </a:buClr>
              <a:buSzPts val="1000"/>
              <a:buFont typeface="Arial"/>
              <a:buNone/>
            </a:pPr>
            <a:r>
              <a:rPr lang="ru-RU" sz="10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Рост «ложно-отрицательных» срабатываний тест-систем на основе ПЦР из-за снижения уровня pH</a:t>
            </a:r>
            <a:endParaRPr sz="1000" b="1">
              <a:solidFill>
                <a:srgbClr val="333F5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8" name="Google Shape;1708;p85"/>
          <p:cNvSpPr txBox="1"/>
          <p:nvPr/>
        </p:nvSpPr>
        <p:spPr>
          <a:xfrm>
            <a:off x="6882037" y="4166620"/>
            <a:ext cx="1475925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33F50"/>
              </a:buClr>
              <a:buSzPts val="1000"/>
              <a:buFont typeface="Arial"/>
              <a:buNone/>
            </a:pPr>
            <a:r>
              <a:rPr lang="ru-RU" sz="10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Выделение формальдегида</a:t>
            </a:r>
            <a:endParaRPr sz="1000" b="1">
              <a:solidFill>
                <a:srgbClr val="333F5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755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13" name="Google Shape;1713;p8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2. </a:t>
            </a:r>
            <a:r>
              <a:rPr lang="ru-RU" dirty="0" smtClean="0">
                <a:solidFill>
                  <a:schemeClr val="accent6"/>
                </a:solidFill>
              </a:rPr>
              <a:t>Несоответствие</a:t>
            </a:r>
            <a:r>
              <a:rPr lang="ru-RU" dirty="0" smtClean="0"/>
              <a:t> функциональных и эксплуатационных </a:t>
            </a:r>
            <a:br>
              <a:rPr lang="ru-RU" dirty="0" smtClean="0"/>
            </a:br>
            <a:r>
              <a:rPr lang="ru-RU" dirty="0" smtClean="0"/>
              <a:t>свойств изделия</a:t>
            </a:r>
            <a:endParaRPr lang="ru-RU" dirty="0"/>
          </a:p>
        </p:txBody>
      </p:sp>
      <p:sp>
        <p:nvSpPr>
          <p:cNvPr id="1714" name="Google Shape;1714;p86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15" name="Google Shape;1715;p8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7</a:t>
            </a:fld>
            <a:endParaRPr lang="ru-RU"/>
          </a:p>
        </p:txBody>
      </p:sp>
      <p:pic>
        <p:nvPicPr>
          <p:cNvPr id="1716" name="Google Shape;1716;p86"/>
          <p:cNvPicPr preferRelativeResize="0"/>
          <p:nvPr/>
        </p:nvPicPr>
        <p:blipFill rotWithShape="1">
          <a:blip r:embed="rId7">
            <a:alphaModFix/>
          </a:blip>
          <a:srcRect t="9285" b="27182"/>
          <a:stretch/>
        </p:blipFill>
        <p:spPr>
          <a:xfrm>
            <a:off x="3048000" y="1003618"/>
            <a:ext cx="3394096" cy="2016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7" name="Google Shape;1717;p86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4233" y="1003618"/>
            <a:ext cx="2240992" cy="35436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718" name="Google Shape;1718;p86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475" b="23571"/>
          <a:stretch/>
        </p:blipFill>
        <p:spPr>
          <a:xfrm>
            <a:off x="3048000" y="3143383"/>
            <a:ext cx="3394096" cy="1403879"/>
          </a:xfrm>
          <a:prstGeom prst="rect">
            <a:avLst/>
          </a:prstGeom>
          <a:noFill/>
          <a:ln>
            <a:noFill/>
          </a:ln>
        </p:spPr>
      </p:pic>
      <p:sp>
        <p:nvSpPr>
          <p:cNvPr id="1719" name="Google Shape;1719;p86"/>
          <p:cNvSpPr txBox="1"/>
          <p:nvPr/>
        </p:nvSpPr>
        <p:spPr>
          <a:xfrm>
            <a:off x="375705" y="2184666"/>
            <a:ext cx="2235630" cy="1061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Пожелтение и деформация изделия из ПЭТФ, отсутствие герметичности изделия («отсутствие вакуума»)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20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4" name="Google Shape;1724;p8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Снижение прочности </a:t>
            </a:r>
            <a:r>
              <a:rPr lang="ru-RU" dirty="0" smtClean="0"/>
              <a:t>нетканого материала «</a:t>
            </a:r>
            <a:r>
              <a:rPr lang="ru-RU" dirty="0" err="1" smtClean="0"/>
              <a:t>Спанбонд</a:t>
            </a:r>
            <a:r>
              <a:rPr lang="ru-RU" dirty="0" smtClean="0"/>
              <a:t>»</a:t>
            </a:r>
            <a:br>
              <a:rPr lang="ru-RU" dirty="0" smtClean="0"/>
            </a:br>
            <a:r>
              <a:rPr lang="ru-RU" dirty="0" smtClean="0"/>
              <a:t>при </a:t>
            </a:r>
            <a:r>
              <a:rPr lang="ru-RU" dirty="0" err="1" smtClean="0"/>
              <a:t>переоблучении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725" name="Google Shape;1725;p87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26" name="Google Shape;1726;p87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8</a:t>
            </a:fld>
            <a:endParaRPr lang="ru-RU"/>
          </a:p>
        </p:txBody>
      </p:sp>
      <p:sp>
        <p:nvSpPr>
          <p:cNvPr id="1730" name="Google Shape;1730;p87"/>
          <p:cNvSpPr txBox="1"/>
          <p:nvPr/>
        </p:nvSpPr>
        <p:spPr>
          <a:xfrm>
            <a:off x="1960880" y="4350798"/>
            <a:ext cx="5222240" cy="2123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rgbClr val="333F50"/>
                </a:solidFill>
                <a:latin typeface="Arial"/>
                <a:ea typeface="Arial"/>
                <a:cs typeface="Arial"/>
                <a:sym typeface="Arial"/>
              </a:rPr>
              <a:t>Облученный образец, доза 90 кГр</a:t>
            </a:r>
            <a:endParaRPr sz="1200" b="1">
              <a:solidFill>
                <a:srgbClr val="333F5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" name="Google Shape;1727;p87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25" b="3125"/>
          <a:stretch/>
        </p:blipFill>
        <p:spPr>
          <a:xfrm>
            <a:off x="3306276" y="989595"/>
            <a:ext cx="2531448" cy="316431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729;p87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25" b="3125"/>
          <a:stretch/>
        </p:blipFill>
        <p:spPr>
          <a:xfrm>
            <a:off x="6306590" y="989595"/>
            <a:ext cx="2531440" cy="3164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5969" y="983975"/>
            <a:ext cx="2529840" cy="3169920"/>
          </a:xfrm>
          <a:prstGeom prst="rect">
            <a:avLst/>
          </a:prstGeom>
        </p:spPr>
      </p:pic>
    </p:spTree>
  </p:cSld>
  <p:clrMapOvr>
    <a:masterClrMapping/>
  </p:clrMapOvr>
  <p:transition spd="slow"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800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6" name="Google Shape;1746;p89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522135" y="1979209"/>
            <a:ext cx="1761400" cy="2492750"/>
          </a:xfrm>
          <a:prstGeom prst="rect">
            <a:avLst/>
          </a:prstGeom>
          <a:noFill/>
          <a:ln>
            <a:noFill/>
          </a:ln>
        </p:spPr>
      </p:pic>
      <p:sp>
        <p:nvSpPr>
          <p:cNvPr id="1747" name="Google Shape;1747;p89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ПРИЧИНА: </a:t>
            </a:r>
            <a:r>
              <a:rPr lang="en-US" dirty="0" smtClean="0">
                <a:solidFill>
                  <a:schemeClr val="accent6"/>
                </a:solidFill>
              </a:rPr>
              <a:t>D</a:t>
            </a:r>
            <a:r>
              <a:rPr lang="ru-RU" dirty="0" smtClean="0">
                <a:solidFill>
                  <a:schemeClr val="accent6"/>
                </a:solidFill>
              </a:rPr>
              <a:t>макс &gt; </a:t>
            </a:r>
            <a:r>
              <a:rPr lang="en-US" dirty="0" smtClean="0">
                <a:solidFill>
                  <a:schemeClr val="accent6"/>
                </a:solidFill>
              </a:rPr>
              <a:t>D</a:t>
            </a:r>
            <a:r>
              <a:rPr lang="ru-RU" dirty="0" err="1" smtClean="0">
                <a:solidFill>
                  <a:schemeClr val="accent6"/>
                </a:solidFill>
              </a:rPr>
              <a:t>макс.доп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748" name="Google Shape;1748;p89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49" name="Google Shape;1749;p89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29</a:t>
            </a:fld>
            <a:endParaRPr lang="ru-RU"/>
          </a:p>
        </p:txBody>
      </p:sp>
      <p:sp>
        <p:nvSpPr>
          <p:cNvPr id="1750" name="Google Shape;1750;p89"/>
          <p:cNvSpPr txBox="1"/>
          <p:nvPr/>
        </p:nvSpPr>
        <p:spPr>
          <a:xfrm>
            <a:off x="358775" y="747863"/>
            <a:ext cx="3999866" cy="37240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оза, полученная изделием, больше значения максимально-допустимой дозы.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ледствие – изделие </a:t>
            </a:r>
            <a:r>
              <a:rPr lang="ru-RU" sz="1200" b="1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ереоблучено</a:t>
            </a:r>
            <a:r>
              <a:rPr lang="ru-RU" sz="12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,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в транспортном коробе </a:t>
            </a:r>
            <a:r>
              <a:rPr lang="ru-RU" sz="12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могут быть испорченные изделия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, непригодные для дальнейшего использования.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ля контроля максимально-допустимой дозы облучения проводятся лабораторные испытания облученных образцов:</a:t>
            </a:r>
            <a:endParaRPr dirty="0"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о санитарно-химическим показателям по ГОСТ Р 52770 (изменение величины рН вытяжки, УФ-поглощение, формальдегид).</a:t>
            </a:r>
            <a:endParaRPr dirty="0"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а </a:t>
            </a:r>
            <a:r>
              <a:rPr lang="ru-RU" sz="1200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цитотоксичность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, на раздражающее действие, на гемолитические свойства по серии  ГОСТ ISO 10993.</a:t>
            </a:r>
            <a:endParaRPr dirty="0"/>
          </a:p>
          <a:p>
            <a:pPr marL="171450" marR="0" lvl="0" indent="-171450" algn="l" rtl="0"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Char char="•"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а соответствие требованиям ТУ (внешний вид, герметичность, разрывные нагрузки, сопротивление отслаиванию липкого слоя).</a:t>
            </a:r>
            <a:endParaRPr dirty="0"/>
          </a:p>
        </p:txBody>
      </p:sp>
      <p:pic>
        <p:nvPicPr>
          <p:cNvPr id="1751" name="Google Shape;1751;p89"/>
          <p:cNvPicPr preferRelativeResize="0"/>
          <p:nvPr/>
        </p:nvPicPr>
        <p:blipFill rotWithShape="1">
          <a:blip r:embed="rId8">
            <a:alphaModFix/>
          </a:blip>
          <a:srcRect t="9070" b="9070"/>
          <a:stretch/>
        </p:blipFill>
        <p:spPr>
          <a:xfrm>
            <a:off x="4572000" y="0"/>
            <a:ext cx="4572000" cy="25717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" name="Google Shape;1359;p62"/>
          <p:cNvSpPr/>
          <p:nvPr/>
        </p:nvSpPr>
        <p:spPr>
          <a:xfrm>
            <a:off x="3201567" y="1207059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0" name="Google Shape;1360;p6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Стерильные и нестерильные медицинские изделия.</a:t>
            </a:r>
          </a:p>
          <a:p>
            <a:pPr lvl="0"/>
            <a:r>
              <a:rPr lang="ru-RU" smtClean="0"/>
              <a:t>Финишная стерилизация и асептическое производство</a:t>
            </a:r>
            <a:endParaRPr lang="ru-RU"/>
          </a:p>
        </p:txBody>
      </p:sp>
      <p:sp>
        <p:nvSpPr>
          <p:cNvPr id="1361" name="Google Shape;1361;p62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362" name="Google Shape;1362;p62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</a:t>
            </a:fld>
            <a:endParaRPr lang="ru-RU"/>
          </a:p>
        </p:txBody>
      </p:sp>
      <p:sp>
        <p:nvSpPr>
          <p:cNvPr id="1363" name="Google Shape;1363;p62"/>
          <p:cNvSpPr txBox="1"/>
          <p:nvPr/>
        </p:nvSpPr>
        <p:spPr>
          <a:xfrm>
            <a:off x="249390" y="1107680"/>
            <a:ext cx="2463330" cy="25083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1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 323-ФЗ "Об основах охраны здоровья граждан в Российской Федерации" Статья 38. :</a:t>
            </a:r>
            <a:endParaRPr sz="1100" i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“1.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едицинскими изделиями являются любые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…..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зделия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,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применяемые в медицинских целях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…..</a:t>
            </a:r>
            <a:endParaRPr sz="1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12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.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едицинские изделия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одразделяются на классы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в зависимости от потенциального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иска 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….”</a:t>
            </a:r>
            <a:endParaRPr sz="1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4" name="Google Shape;1364;p62"/>
          <p:cNvSpPr txBox="1"/>
          <p:nvPr/>
        </p:nvSpPr>
        <p:spPr>
          <a:xfrm>
            <a:off x="3201579" y="1172768"/>
            <a:ext cx="5444581" cy="52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едицинское изделие может быть стерильным или же нестерильным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не 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зависимости от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класса риска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5" name="Google Shape;1365;p62"/>
          <p:cNvSpPr/>
          <p:nvPr/>
        </p:nvSpPr>
        <p:spPr>
          <a:xfrm>
            <a:off x="3201567" y="2225053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6" name="Google Shape;1366;p62"/>
          <p:cNvSpPr txBox="1"/>
          <p:nvPr/>
        </p:nvSpPr>
        <p:spPr>
          <a:xfrm>
            <a:off x="3201579" y="2165449"/>
            <a:ext cx="5583646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терильные медицинские изделия могут быть получены при организации 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асептического производства 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</a:t>
            </a:r>
            <a:r>
              <a:rPr lang="ru-RU" sz="11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ОСТ Р ИСО 13408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)  или</a:t>
            </a: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при финишной стерилизации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упакованного изделия. </a:t>
            </a:r>
            <a:endParaRPr sz="11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7" name="Google Shape;1367;p62"/>
          <p:cNvSpPr/>
          <p:nvPr/>
        </p:nvSpPr>
        <p:spPr>
          <a:xfrm>
            <a:off x="3201567" y="3327407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68" name="Google Shape;1368;p62"/>
          <p:cNvSpPr txBox="1"/>
          <p:nvPr/>
        </p:nvSpPr>
        <p:spPr>
          <a:xfrm>
            <a:off x="3201579" y="3306816"/>
            <a:ext cx="4926421" cy="1133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100"/>
              <a:buFont typeface="Arial"/>
              <a:buNone/>
            </a:pPr>
            <a:r>
              <a:rPr lang="ru-RU" sz="1100" i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Определение ГОСТ EN 556-1-2011</a:t>
            </a:r>
            <a:r>
              <a:rPr lang="ru-RU" sz="11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sz="1100">
              <a:solidFill>
                <a:schemeClr val="accent5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800"/>
              </a:spcBef>
              <a:spcAft>
                <a:spcPts val="0"/>
              </a:spcAft>
              <a:buClr>
                <a:schemeClr val="accent5"/>
              </a:buClr>
              <a:buSzPts val="1100"/>
              <a:buFont typeface="Arial"/>
              <a:buNone/>
            </a:pPr>
            <a:r>
              <a:rPr lang="ru-RU" sz="11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4.1 Для того, чтобы медицинские изделия, прошедшие финишную стерилизацию, могли быть отнесены к категории "</a:t>
            </a:r>
            <a: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СТЕРИЛЬНЫЕ</a:t>
            </a:r>
            <a:r>
              <a:rPr lang="ru-RU" sz="11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", необходимо, чтобы </a:t>
            </a:r>
            <a: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вероятность присутствия</a:t>
            </a:r>
            <a:r>
              <a:rPr lang="ru-RU" sz="11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 в (на) них </a:t>
            </a:r>
            <a: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жизнеспособных микроорганизмов </a:t>
            </a:r>
            <a:r>
              <a:rPr lang="ru-RU" sz="110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была </a:t>
            </a:r>
            <a:r>
              <a:rPr lang="ru-RU" sz="1100" b="1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менее или равна 1х10</a:t>
            </a:r>
            <a:r>
              <a:rPr lang="ru-RU" sz="1100" b="1" baseline="30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6</a:t>
            </a:r>
            <a:r>
              <a:rPr lang="ru-RU" sz="11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35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7" name="Google Shape;1757;p90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Реализация диапазона доз </a:t>
            </a:r>
            <a:br>
              <a:rPr lang="ru-RU" dirty="0" smtClean="0"/>
            </a:br>
            <a:r>
              <a:rPr lang="ru-RU" dirty="0" err="1" smtClean="0"/>
              <a:t>Dст</a:t>
            </a:r>
            <a:r>
              <a:rPr lang="ru-RU" dirty="0" smtClean="0"/>
              <a:t> — </a:t>
            </a:r>
            <a:r>
              <a:rPr lang="ru-RU" dirty="0" err="1" smtClean="0"/>
              <a:t>Dмакс.доп</a:t>
            </a:r>
            <a:r>
              <a:rPr lang="ru-RU" dirty="0" smtClean="0"/>
              <a:t>. </a:t>
            </a:r>
            <a:br>
              <a:rPr lang="ru-RU" dirty="0" smtClean="0"/>
            </a:br>
            <a:r>
              <a:rPr lang="ru-RU" dirty="0" smtClean="0">
                <a:solidFill>
                  <a:schemeClr val="accent6"/>
                </a:solidFill>
              </a:rPr>
              <a:t>на конкретной установке </a:t>
            </a:r>
            <a:br>
              <a:rPr lang="ru-RU" dirty="0" smtClean="0">
                <a:solidFill>
                  <a:schemeClr val="accent6"/>
                </a:solidFill>
              </a:rPr>
            </a:br>
            <a:r>
              <a:rPr lang="ru-RU" dirty="0" smtClean="0">
                <a:solidFill>
                  <a:schemeClr val="accent6"/>
                </a:solidFill>
              </a:rPr>
              <a:t>с ускорителем электронов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758" name="Google Shape;1758;p90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59" name="Google Shape;1759;p90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0</a:t>
            </a:fld>
            <a:endParaRPr lang="ru-RU"/>
          </a:p>
        </p:txBody>
      </p:sp>
      <p:sp>
        <p:nvSpPr>
          <p:cNvPr id="1760" name="Google Shape;1760;p90"/>
          <p:cNvSpPr txBox="1"/>
          <p:nvPr/>
        </p:nvSpPr>
        <p:spPr>
          <a:xfrm>
            <a:off x="358774" y="1684697"/>
            <a:ext cx="335978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Характеристика проникновения пучка: De – доза на поверхности, составляет около 70% 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761" name="Google Shape;1761;p90"/>
          <p:cNvGrpSpPr/>
          <p:nvPr/>
        </p:nvGrpSpPr>
        <p:grpSpPr>
          <a:xfrm>
            <a:off x="5639013" y="-1"/>
            <a:ext cx="3504987" cy="2372811"/>
            <a:chOff x="358774" y="1757105"/>
            <a:chExt cx="3425176" cy="2404800"/>
          </a:xfrm>
        </p:grpSpPr>
        <p:pic>
          <p:nvPicPr>
            <p:cNvPr id="1762" name="Google Shape;1762;p90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358774" y="1757105"/>
              <a:ext cx="3425176" cy="24048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63" name="Google Shape;1763;p90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602949" y="2317280"/>
              <a:ext cx="2301850" cy="14564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764" name="Google Shape;1764;p90"/>
          <p:cNvGrpSpPr/>
          <p:nvPr/>
        </p:nvGrpSpPr>
        <p:grpSpPr>
          <a:xfrm>
            <a:off x="0" y="2490000"/>
            <a:ext cx="9144000" cy="2061363"/>
            <a:chOff x="358774" y="2651760"/>
            <a:chExt cx="8426451" cy="1899603"/>
          </a:xfrm>
        </p:grpSpPr>
        <p:sp>
          <p:nvSpPr>
            <p:cNvPr id="1765" name="Google Shape;1765;p90"/>
            <p:cNvSpPr/>
            <p:nvPr/>
          </p:nvSpPr>
          <p:spPr>
            <a:xfrm>
              <a:off x="358774" y="2651760"/>
              <a:ext cx="8426451" cy="1899603"/>
            </a:xfrm>
            <a:prstGeom prst="rect">
              <a:avLst/>
            </a:prstGeom>
            <a:solidFill>
              <a:srgbClr val="004966"/>
            </a:solidFill>
            <a:ln>
              <a:noFill/>
            </a:ln>
          </p:spPr>
          <p:txBody>
            <a:bodyPr spcFirstLastPara="1" wrap="square" lIns="72000" tIns="36000" rIns="72000" bIns="360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200"/>
                <a:buFont typeface="Arial"/>
                <a:buNone/>
              </a:pPr>
              <a:endParaRPr sz="1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766" name="Google Shape;1766;p90"/>
            <p:cNvPicPr preferRelativeResize="0"/>
            <p:nvPr/>
          </p:nvPicPr>
          <p:blipFill rotWithShape="1">
            <a:blip r:embed="rId9">
              <a:alphaModFix/>
            </a:blip>
            <a:srcRect l="1318" t="616" b="62393"/>
            <a:stretch/>
          </p:blipFill>
          <p:spPr>
            <a:xfrm>
              <a:off x="852148" y="2731945"/>
              <a:ext cx="2400335" cy="18092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67" name="Google Shape;1767;p90"/>
            <p:cNvPicPr preferRelativeResize="0"/>
            <p:nvPr/>
          </p:nvPicPr>
          <p:blipFill rotWithShape="1">
            <a:blip r:embed="rId9">
              <a:alphaModFix/>
            </a:blip>
            <a:srcRect l="1988" t="38021" b="32814"/>
            <a:stretch/>
          </p:blipFill>
          <p:spPr>
            <a:xfrm>
              <a:off x="3365421" y="3114929"/>
              <a:ext cx="2384044" cy="14265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68" name="Google Shape;1768;p90"/>
            <p:cNvPicPr preferRelativeResize="0"/>
            <p:nvPr/>
          </p:nvPicPr>
          <p:blipFill rotWithShape="1">
            <a:blip r:embed="rId9">
              <a:alphaModFix/>
            </a:blip>
            <a:srcRect l="1988" t="67713" b="1250"/>
            <a:stretch/>
          </p:blipFill>
          <p:spPr>
            <a:xfrm>
              <a:off x="5862403" y="3028513"/>
              <a:ext cx="2384044" cy="151808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69" name="Google Shape;1769;p90"/>
          <p:cNvSpPr txBox="1"/>
          <p:nvPr/>
        </p:nvSpPr>
        <p:spPr>
          <a:xfrm>
            <a:off x="358774" y="2200586"/>
            <a:ext cx="3359785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вустороннее облучение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0" name="Google Shape;1770;p90"/>
          <p:cNvSpPr txBox="1"/>
          <p:nvPr/>
        </p:nvSpPr>
        <p:spPr>
          <a:xfrm>
            <a:off x="4262451" y="314864"/>
            <a:ext cx="125163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дностороннее облучение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8212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5" name="Google Shape;1775;p91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3880012" cy="672627"/>
          </a:xfrm>
        </p:spPr>
        <p:txBody>
          <a:bodyPr/>
          <a:lstStyle/>
          <a:p>
            <a:pPr lvl="0"/>
            <a:r>
              <a:rPr lang="ru-RU" dirty="0" smtClean="0"/>
              <a:t>Установление </a:t>
            </a:r>
            <a:r>
              <a:rPr lang="ru-RU" dirty="0" smtClean="0">
                <a:solidFill>
                  <a:schemeClr val="accent6"/>
                </a:solidFill>
              </a:rPr>
              <a:t>диапазона доз </a:t>
            </a:r>
            <a:r>
              <a:rPr lang="ru-RU" dirty="0" smtClean="0"/>
              <a:t>в коробе</a:t>
            </a:r>
            <a:endParaRPr lang="ru-RU" dirty="0"/>
          </a:p>
        </p:txBody>
      </p:sp>
      <p:sp>
        <p:nvSpPr>
          <p:cNvPr id="1776" name="Google Shape;1776;p91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77" name="Google Shape;1777;p91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1</a:t>
            </a:fld>
            <a:endParaRPr lang="ru-RU"/>
          </a:p>
        </p:txBody>
      </p:sp>
      <p:sp>
        <p:nvSpPr>
          <p:cNvPr id="1778" name="Google Shape;1778;p91"/>
          <p:cNvSpPr txBox="1"/>
          <p:nvPr/>
        </p:nvSpPr>
        <p:spPr>
          <a:xfrm>
            <a:off x="358775" y="1023938"/>
            <a:ext cx="4209215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 образце размещаются дозиметры для построения карты поля поглощенных доз, для последующего анализа результатов. </a:t>
            </a:r>
            <a:endParaRPr/>
          </a:p>
        </p:txBody>
      </p:sp>
      <p:pic>
        <p:nvPicPr>
          <p:cNvPr id="1779" name="Google Shape;1779;p91"/>
          <p:cNvPicPr preferRelativeResize="0"/>
          <p:nvPr/>
        </p:nvPicPr>
        <p:blipFill rotWithShape="1">
          <a:blip r:embed="rId7">
            <a:alphaModFix/>
          </a:blip>
          <a:srcRect l="1011" t="958" r="1519" b="2916"/>
          <a:stretch/>
        </p:blipFill>
        <p:spPr>
          <a:xfrm>
            <a:off x="439798" y="2116919"/>
            <a:ext cx="3865984" cy="2434445"/>
          </a:xfrm>
          <a:prstGeom prst="rect">
            <a:avLst/>
          </a:prstGeom>
          <a:noFill/>
          <a:ln>
            <a:noFill/>
          </a:ln>
        </p:spPr>
      </p:pic>
      <p:sp>
        <p:nvSpPr>
          <p:cNvPr id="1781" name="Google Shape;1781;p91"/>
          <p:cNvSpPr txBox="1"/>
          <p:nvPr/>
        </p:nvSpPr>
        <p:spPr>
          <a:xfrm>
            <a:off x="358773" y="1642840"/>
            <a:ext cx="3947009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Задача - найти места с наибольшей и наименьшей поглощенной дозой в продукции.</a:t>
            </a:r>
            <a:endParaRPr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595" y="337887"/>
            <a:ext cx="2668547" cy="3558063"/>
          </a:xfrm>
          <a:prstGeom prst="rect">
            <a:avLst/>
          </a:prstGeom>
        </p:spPr>
      </p:pic>
    </p:spTree>
  </p:cSld>
  <p:clrMapOvr>
    <a:masterClrMapping/>
  </p:clrMapOvr>
  <p:transition spd="slow">
    <p:fade thruBlk="1"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6" name="Google Shape;1786;p92"/>
          <p:cNvSpPr/>
          <p:nvPr/>
        </p:nvSpPr>
        <p:spPr>
          <a:xfrm>
            <a:off x="0" y="0"/>
            <a:ext cx="4571999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7" name="Google Shape;1787;p9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По результатам измерений:</a:t>
            </a:r>
            <a:endParaRPr lang="ru-RU"/>
          </a:p>
        </p:txBody>
      </p:sp>
      <p:sp>
        <p:nvSpPr>
          <p:cNvPr id="1788" name="Google Shape;1788;p92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89" name="Google Shape;1789;p92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2</a:t>
            </a:fld>
            <a:endParaRPr lang="ru-RU"/>
          </a:p>
        </p:txBody>
      </p:sp>
      <p:sp>
        <p:nvSpPr>
          <p:cNvPr id="1790" name="Google Shape;1790;p92"/>
          <p:cNvSpPr txBox="1"/>
          <p:nvPr/>
        </p:nvSpPr>
        <p:spPr>
          <a:xfrm>
            <a:off x="358775" y="1020510"/>
            <a:ext cx="3530319" cy="3370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троится карта распределения дозы в продукции</a:t>
            </a:r>
            <a:endParaRPr/>
          </a:p>
          <a:p>
            <a:pPr marL="228600" marR="0" lvl="0" indent="-22860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ыбираются наиболее проблемные точки.</a:t>
            </a:r>
            <a:endParaRPr/>
          </a:p>
          <a:p>
            <a:pPr marL="228600" marR="0" lvl="0" indent="-22860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ыявляются причины возникновения проблем</a:t>
            </a:r>
            <a:endParaRPr/>
          </a:p>
          <a:p>
            <a:pPr marL="228600" marR="0" lvl="0" indent="-22860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щется решение для исправления проблемы</a:t>
            </a:r>
            <a:endParaRPr/>
          </a:p>
          <a:p>
            <a:pPr marL="228600" marR="0" lvl="0" indent="-22860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оизводится повторная обработка с полным исследованием продукции.</a:t>
            </a:r>
            <a:endParaRPr/>
          </a:p>
          <a:p>
            <a:pPr marL="228600" marR="0" lvl="0" indent="-22860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Arial"/>
              <a:buAutoNum type="arabicPeriod"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ыбирается контрольная точка на поверхности коробки с минимальной дозой</a:t>
            </a:r>
            <a:endParaRPr/>
          </a:p>
        </p:txBody>
      </p:sp>
      <p:pic>
        <p:nvPicPr>
          <p:cNvPr id="1791" name="Google Shape;1791;p92"/>
          <p:cNvPicPr preferRelativeResize="0"/>
          <p:nvPr/>
        </p:nvPicPr>
        <p:blipFill rotWithShape="1">
          <a:blip r:embed="rId3">
            <a:alphaModFix/>
          </a:blip>
          <a:srcRect l="3105" t="2328" r="2329" b="1698"/>
          <a:stretch/>
        </p:blipFill>
        <p:spPr>
          <a:xfrm>
            <a:off x="4572000" y="992991"/>
            <a:ext cx="4282633" cy="296311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6" name="Google Shape;1796;p93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797" name="Google Shape;1797;p9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3</a:t>
            </a:fld>
            <a:endParaRPr lang="ru-RU"/>
          </a:p>
        </p:txBody>
      </p:sp>
      <p:sp>
        <p:nvSpPr>
          <p:cNvPr id="1798" name="Google Shape;1798;p93"/>
          <p:cNvSpPr txBox="1"/>
          <p:nvPr/>
        </p:nvSpPr>
        <p:spPr>
          <a:xfrm>
            <a:off x="362888" y="777442"/>
            <a:ext cx="3970157" cy="330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ределяется Кмин =  Dмин / Dкт</a:t>
            </a:r>
            <a:endParaRPr sz="14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ределяется Кмакс =  Dмакс / Dкт</a:t>
            </a:r>
            <a:endParaRPr sz="14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ределяется R = Dмакс / Dмин</a:t>
            </a:r>
            <a:endParaRPr sz="14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Устанавливается режим облучения.</a:t>
            </a:r>
            <a:endParaRPr/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ри рутинной стерилизации измеряется только доза на поверхности короба, в контрольной точке.</a:t>
            </a:r>
            <a:endParaRPr/>
          </a:p>
          <a:p>
            <a:pPr marL="0" marR="0" lvl="0" indent="0" algn="l" rtl="0">
              <a:spcBef>
                <a:spcPts val="180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иапазон доз в транспортном коробе вычисляется с использованием коэффициентов Кмин и Кмак.</a:t>
            </a:r>
            <a:endParaRPr/>
          </a:p>
        </p:txBody>
      </p:sp>
      <p:sp>
        <p:nvSpPr>
          <p:cNvPr id="1799" name="Google Shape;1799;p93"/>
          <p:cNvSpPr txBox="1"/>
          <p:nvPr/>
        </p:nvSpPr>
        <p:spPr>
          <a:xfrm>
            <a:off x="4572001" y="-1"/>
            <a:ext cx="4572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Должно соблюдаться условие:</a:t>
            </a:r>
            <a:endParaRPr sz="14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ru-RU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мин =Dкт * Кмин,        </a:t>
            </a: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мин ≥ Dст</a:t>
            </a:r>
            <a:endParaRPr sz="14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r>
              <a:rPr lang="ru-RU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макс = Dкт * Кмакс,    </a:t>
            </a: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макс &lt; Dмакс.доп.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054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4" name="Google Shape;1804;p94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Прочие факторы, </a:t>
            </a:r>
            <a:r>
              <a:rPr lang="ru-RU" dirty="0" smtClean="0"/>
              <a:t>влияющие </a:t>
            </a:r>
            <a:br>
              <a:rPr lang="ru-RU" dirty="0" smtClean="0"/>
            </a:br>
            <a:r>
              <a:rPr lang="ru-RU" dirty="0" smtClean="0"/>
              <a:t>на стерильность продукции</a:t>
            </a:r>
            <a:endParaRPr lang="ru-RU" dirty="0"/>
          </a:p>
        </p:txBody>
      </p:sp>
      <p:sp>
        <p:nvSpPr>
          <p:cNvPr id="1805" name="Google Shape;1805;p94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806" name="Google Shape;1806;p94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4</a:t>
            </a:fld>
            <a:endParaRPr lang="ru-RU"/>
          </a:p>
        </p:txBody>
      </p:sp>
      <p:sp>
        <p:nvSpPr>
          <p:cNvPr id="1807" name="Google Shape;1807;p94"/>
          <p:cNvSpPr txBox="1"/>
          <p:nvPr/>
        </p:nvSpPr>
        <p:spPr>
          <a:xfrm>
            <a:off x="358776" y="1073078"/>
            <a:ext cx="5737224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адлежащим образом валидированный, точно контролируемый процесс стерилизации является </a:t>
            </a: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е единственным фактором, </a:t>
            </a: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лияющим на надежность того, что продукция является стерильной, и в этом отношении пригодна для предназначенного применения. </a:t>
            </a:r>
            <a:endParaRPr sz="12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еобходимо обратить внимание на ряд других вопросов, среди которых:</a:t>
            </a:r>
            <a:endParaRPr sz="1200" b="1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08" name="Google Shape;1808;p94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313" r="18850"/>
          <a:stretch/>
        </p:blipFill>
        <p:spPr>
          <a:xfrm>
            <a:off x="6096000" y="0"/>
            <a:ext cx="3048000" cy="455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9" name="Google Shape;1809;p94"/>
          <p:cNvSpPr txBox="1"/>
          <p:nvPr/>
        </p:nvSpPr>
        <p:spPr>
          <a:xfrm>
            <a:off x="358776" y="2427018"/>
            <a:ext cx="2465447" cy="18466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микробиологическое состояние входящего сырья и/или компонентов;</a:t>
            </a:r>
            <a:endParaRPr/>
          </a:p>
          <a:p>
            <a:pPr marL="171450" marR="0" lvl="0" indent="-171450" algn="l" rtl="0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я и текущий контроль любой используемой методики очистки и дезинфекции;</a:t>
            </a:r>
            <a:endParaRPr/>
          </a:p>
          <a:p>
            <a:pPr marL="171450" marR="0" lvl="0" indent="-171450" algn="l" rtl="0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онтроль окружающей среды, в которой продукция производится, собирается и упаковывается;</a:t>
            </a:r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0" name="Google Shape;1810;p94"/>
          <p:cNvSpPr txBox="1"/>
          <p:nvPr/>
        </p:nvSpPr>
        <p:spPr>
          <a:xfrm>
            <a:off x="3227388" y="2427018"/>
            <a:ext cx="2363184" cy="18466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онтроль оборудования и процессов;</a:t>
            </a:r>
            <a:endParaRPr/>
          </a:p>
          <a:p>
            <a:pPr marL="171450" marR="0" lvl="0" indent="-171450" algn="l" rtl="0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онтроль персонала и его гигиены;</a:t>
            </a:r>
            <a:endParaRPr/>
          </a:p>
          <a:p>
            <a:pPr marL="171450" marR="0" lvl="0" indent="-171450" algn="l" rtl="0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пособ и материалы, в которые упаковывается продукция;</a:t>
            </a:r>
            <a:endParaRPr/>
          </a:p>
          <a:p>
            <a:pPr marL="171450" marR="0" lvl="0" indent="-171450" algn="l" rtl="0"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условия хранения продукции.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8885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5" name="Google Shape;1815;p95"/>
          <p:cNvSpPr/>
          <p:nvPr/>
        </p:nvSpPr>
        <p:spPr>
          <a:xfrm>
            <a:off x="0" y="1020510"/>
            <a:ext cx="4109013" cy="1551240"/>
          </a:xfrm>
          <a:prstGeom prst="rect">
            <a:avLst/>
          </a:prstGeom>
          <a:solidFill>
            <a:srgbClr val="E3F9F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6" name="Google Shape;1816;p95"/>
          <p:cNvSpPr/>
          <p:nvPr/>
        </p:nvSpPr>
        <p:spPr>
          <a:xfrm>
            <a:off x="0" y="2571749"/>
            <a:ext cx="4109013" cy="1979613"/>
          </a:xfrm>
          <a:prstGeom prst="rect">
            <a:avLst/>
          </a:prstGeom>
          <a:solidFill>
            <a:srgbClr val="C7F3E6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7" name="Google Shape;1817;p95"/>
          <p:cNvSpPr/>
          <p:nvPr/>
        </p:nvSpPr>
        <p:spPr>
          <a:xfrm>
            <a:off x="4109013" y="1023939"/>
            <a:ext cx="5034986" cy="3527424"/>
          </a:xfrm>
          <a:prstGeom prst="rect">
            <a:avLst/>
          </a:prstGeom>
          <a:solidFill>
            <a:srgbClr val="ACEDDA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18" name="Google Shape;1818;p95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Документы, которые оформляются </a:t>
            </a:r>
            <a:r>
              <a:rPr lang="ru-RU" dirty="0" smtClean="0">
                <a:solidFill>
                  <a:schemeClr val="accent6"/>
                </a:solidFill>
              </a:rPr>
              <a:t>при </a:t>
            </a:r>
            <a:r>
              <a:rPr lang="ru-RU" dirty="0" err="1" smtClean="0">
                <a:solidFill>
                  <a:schemeClr val="accent6"/>
                </a:solidFill>
              </a:rPr>
              <a:t>валидации</a:t>
            </a:r>
            <a:r>
              <a:rPr lang="ru-RU" dirty="0" smtClean="0">
                <a:solidFill>
                  <a:schemeClr val="accent6"/>
                </a:solidFill>
              </a:rPr>
              <a:t>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роцесса стерилизации</a:t>
            </a:r>
            <a:endParaRPr lang="ru-RU" dirty="0"/>
          </a:p>
        </p:txBody>
      </p:sp>
      <p:sp>
        <p:nvSpPr>
          <p:cNvPr id="1819" name="Google Shape;1819;p95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820" name="Google Shape;1820;p9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5</a:t>
            </a:fld>
            <a:endParaRPr lang="ru-RU"/>
          </a:p>
        </p:txBody>
      </p:sp>
      <p:sp>
        <p:nvSpPr>
          <p:cNvPr id="1821" name="Google Shape;1821;p95"/>
          <p:cNvSpPr txBox="1"/>
          <p:nvPr/>
        </p:nvSpPr>
        <p:spPr>
          <a:xfrm>
            <a:off x="358777" y="1135781"/>
            <a:ext cx="3391464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струкция по радиационной стерилизации  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струкция по радиационной стерилизации  выдается на конкретное МИ.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Форма установлена приказом Минздрава России от 22.05.2001 N 167.</a:t>
            </a:r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2" name="Google Shape;1822;p95"/>
          <p:cNvSpPr txBox="1"/>
          <p:nvPr/>
        </p:nvSpPr>
        <p:spPr>
          <a:xfrm>
            <a:off x="358776" y="2712083"/>
            <a:ext cx="3414571" cy="16619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ехнологический регламент процесса радиационной стерилизации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формляется на конкретную радиационную установку для каждого вида изделий, различающихся укладкой в транспортную тару, весом, габаритами и проч.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ребования к содержанию регламентируются Руководством Р 2.6.4/3.5.4-1040-01 «Общие требования к технологическому регламенту радиационной стерилизации изделий медицинского назначения»</a:t>
            </a:r>
            <a:endParaRPr/>
          </a:p>
        </p:txBody>
      </p:sp>
      <p:sp>
        <p:nvSpPr>
          <p:cNvPr id="1823" name="Google Shape;1823;p95"/>
          <p:cNvSpPr txBox="1"/>
          <p:nvPr/>
        </p:nvSpPr>
        <p:spPr>
          <a:xfrm>
            <a:off x="4348642" y="1131888"/>
            <a:ext cx="4436584" cy="33701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тчет по валидации процесса стерилизации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бъединяет в себя: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параметрах МИ (наименование, состав, назначение, размеры, вес, укладка, и т.д.)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установленном диапазоне доз Dст – Dмакс.доп.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реализации данного диапазона на конкретной РТУ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валидации (квалификации РТУ)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режиме рутинной стерилизации (при ревалидации – за межвалидационный период )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квалификации сотрудников, проводящих стерилизацию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б основном и вспомогательном оборудовании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Информацию о контроле производства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ату ревалидации</a:t>
            </a:r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формляется на конкретную радиационную установку для каждого вида изделий, различающихся укладкой в транспортную тару, весом, габаритами и проч.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88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28" name="Google Shape;1828;p9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/>
              <a:t>Постановление Правительства РФ от 27.12.2012 N 1416 «Правила государственной регистрации медицинских изделий» содержит </a:t>
            </a:r>
            <a:r>
              <a:rPr lang="ru-RU" dirty="0" smtClean="0">
                <a:solidFill>
                  <a:schemeClr val="accent6"/>
                </a:solidFill>
              </a:rPr>
              <a:t>список документов, предоставляемых для регистрации МИ</a:t>
            </a:r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1829" name="Google Shape;1829;p96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830" name="Google Shape;1830;p9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6</a:t>
            </a:fld>
            <a:endParaRPr lang="ru-RU"/>
          </a:p>
        </p:txBody>
      </p:sp>
      <p:sp>
        <p:nvSpPr>
          <p:cNvPr id="1831" name="Google Shape;1831;p96"/>
          <p:cNvSpPr txBox="1"/>
          <p:nvPr/>
        </p:nvSpPr>
        <p:spPr>
          <a:xfrm>
            <a:off x="358776" y="1440186"/>
            <a:ext cx="4051178" cy="29238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копия документа, подтверждающего полномочия уполномоченного представителя производителя (изготовителя)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ведения о нормативной документации на медицинское изделие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техническая документация производителя (изготовителя) на медицинское изделие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эксплуатационная документация производителя (изготовителя) на медицинское изделие, в том числе инструкция по применению или руководство по эксплуатации медицинского изделия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фотографические изображения общего вида медицинского изделия вместе с принадлежностями, необходимыми для применения медицинского изделия по назначению (размером не менее 18 х 24 сантиметра)</a:t>
            </a:r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2" name="Google Shape;1832;p96"/>
          <p:cNvSpPr txBox="1"/>
          <p:nvPr/>
        </p:nvSpPr>
        <p:spPr>
          <a:xfrm>
            <a:off x="4776674" y="1440186"/>
            <a:ext cx="4051178" cy="2077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окументы, подтверждающие результаты технических испытаний медицинского изделия;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окументы, подтверждающие результаты токсикологических исследований медицинского изделия, использование которого предполагает наличие контакта с организмом человека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документы, подтверждающие результаты испытаний медицинского изделия в целях утверждения типа средств измерений</a:t>
            </a:r>
            <a:endParaRPr/>
          </a:p>
          <a:p>
            <a:pPr marL="171450" marR="0" lvl="0" indent="-171450" algn="l" rtl="0"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опись документов</a:t>
            </a:r>
            <a:endParaRPr/>
          </a:p>
        </p:txBody>
      </p:sp>
    </p:spTree>
  </p:cSld>
  <p:clrMapOvr>
    <a:masterClrMapping/>
  </p:clrMapOvr>
  <p:transition spd="slow">
    <p:fade thruBlk="1"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7" name="Google Shape;1837;p97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838" name="Google Shape;1838;p97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7</a:t>
            </a:fld>
            <a:endParaRPr lang="ru-RU"/>
          </a:p>
        </p:txBody>
      </p:sp>
      <p:sp>
        <p:nvSpPr>
          <p:cNvPr id="1839" name="Google Shape;1839;p97"/>
          <p:cNvSpPr txBox="1"/>
          <p:nvPr/>
        </p:nvSpPr>
        <p:spPr>
          <a:xfrm>
            <a:off x="358777" y="349929"/>
            <a:ext cx="5139198" cy="1723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На каком этапе необходимо валидировать процесс стерилизации?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ировать процесс стерилизации необходимо на финальной стадии формирования технических условий перед проведением испытаний для регистрации изделий. 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 том числе валидации процесса упаковки и подтверждения срока годности изделий.</a:t>
            </a:r>
            <a:endParaRPr/>
          </a:p>
        </p:txBody>
      </p:sp>
      <p:sp>
        <p:nvSpPr>
          <p:cNvPr id="1840" name="Google Shape;1840;p97"/>
          <p:cNvSpPr txBox="1"/>
          <p:nvPr/>
        </p:nvSpPr>
        <p:spPr>
          <a:xfrm>
            <a:off x="358775" y="2355374"/>
            <a:ext cx="5503822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колько времени потребуется на </a:t>
            </a:r>
            <a:r>
              <a:rPr lang="ru-RU" sz="1600" b="1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ю</a:t>
            </a:r>
            <a:r>
              <a:rPr lang="ru-RU" sz="16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процесса стерилизации?</a:t>
            </a:r>
            <a:endParaRPr sz="1600" b="1" dirty="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 среднем выполнение всех работ занимает 3 - 4 месяца</a:t>
            </a:r>
            <a:endParaRPr dirty="0"/>
          </a:p>
        </p:txBody>
      </p:sp>
      <p:sp>
        <p:nvSpPr>
          <p:cNvPr id="1841" name="Google Shape;1841;p97"/>
          <p:cNvSpPr txBox="1"/>
          <p:nvPr/>
        </p:nvSpPr>
        <p:spPr>
          <a:xfrm>
            <a:off x="358775" y="3468267"/>
            <a:ext cx="5139200" cy="984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тоимость </a:t>
            </a:r>
            <a:r>
              <a:rPr lang="ru-RU" sz="1600" b="1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и</a:t>
            </a:r>
            <a:r>
              <a:rPr lang="ru-RU" sz="16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процесса стерилизации?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тоимость </a:t>
            </a:r>
            <a:r>
              <a:rPr lang="ru-RU" sz="1200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валидации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процесса стерилизации зависит от количества видов изделий, исполнений изделий и типоразмеров, количества поставщиков материалов, в том числе материалов упаковки. </a:t>
            </a:r>
            <a:endParaRPr dirty="0"/>
          </a:p>
        </p:txBody>
      </p:sp>
      <p:pic>
        <p:nvPicPr>
          <p:cNvPr id="1842" name="Google Shape;1842;p97"/>
          <p:cNvPicPr preferRelativeResize="0"/>
          <p:nvPr/>
        </p:nvPicPr>
        <p:blipFill rotWithShape="1">
          <a:blip r:embed="rId3">
            <a:alphaModFix/>
          </a:blip>
          <a:srcRect l="23446" r="38148" b="24612"/>
          <a:stretch/>
        </p:blipFill>
        <p:spPr>
          <a:xfrm>
            <a:off x="5665944" y="0"/>
            <a:ext cx="3478056" cy="45513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8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7" name="Google Shape;1847;p98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4060826" cy="672627"/>
          </a:xfrm>
        </p:spPr>
        <p:txBody>
          <a:bodyPr/>
          <a:lstStyle/>
          <a:p>
            <a:pPr lvl="0"/>
            <a:r>
              <a:rPr lang="ru-RU" dirty="0" smtClean="0"/>
              <a:t>Поддержание </a:t>
            </a:r>
            <a:r>
              <a:rPr lang="ru-RU" dirty="0" smtClean="0">
                <a:solidFill>
                  <a:schemeClr val="accent6"/>
                </a:solidFill>
              </a:rPr>
              <a:t>эффективности </a:t>
            </a:r>
            <a:r>
              <a:rPr lang="ru-RU" dirty="0" smtClean="0"/>
              <a:t>процесса </a:t>
            </a:r>
            <a:endParaRPr lang="ru-RU" dirty="0"/>
          </a:p>
        </p:txBody>
      </p:sp>
      <p:sp>
        <p:nvSpPr>
          <p:cNvPr id="1848" name="Google Shape;1848;p98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pPr lvl="0"/>
            <a:r>
              <a:rPr lang="ru-RU" smtClean="0"/>
              <a:t>Валидация процесса радиационной стерилизации</a:t>
            </a:r>
            <a:endParaRPr lang="ru-RU"/>
          </a:p>
        </p:txBody>
      </p:sp>
      <p:sp>
        <p:nvSpPr>
          <p:cNvPr id="1849" name="Google Shape;1849;p98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8</a:t>
            </a:fld>
            <a:endParaRPr lang="ru-RU"/>
          </a:p>
        </p:txBody>
      </p:sp>
      <p:sp>
        <p:nvSpPr>
          <p:cNvPr id="1850" name="Google Shape;1850;p98"/>
          <p:cNvSpPr txBox="1"/>
          <p:nvPr/>
        </p:nvSpPr>
        <p:spPr>
          <a:xfrm>
            <a:off x="358777" y="1131853"/>
            <a:ext cx="3970155" cy="25237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. 12 ГОСТ ISO 11137-1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Сохраняющаяся эффективность установленной стерилизующей дозы должна быть показана путем проведения: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a) определения </a:t>
            </a:r>
            <a:r>
              <a:rPr lang="ru-RU" sz="1200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бионагрузки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с целью контроля количества микроорганизмов, присутствующих на продукции, в сравнении с заданным количеством согласно техническим характеристикам;</a:t>
            </a:r>
            <a:endParaRPr dirty="0"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b) аудита стерилизующей дозы с целью контроля радиационной устойчивости </a:t>
            </a:r>
            <a:r>
              <a:rPr lang="ru-RU" sz="1200" dirty="0" err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бионагрузки</a:t>
            </a:r>
            <a:r>
              <a:rPr lang="ru-RU" sz="1200" dirty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 на продукцию.</a:t>
            </a:r>
            <a:endParaRPr dirty="0"/>
          </a:p>
        </p:txBody>
      </p:sp>
      <p:sp>
        <p:nvSpPr>
          <p:cNvPr id="1851" name="Google Shape;1851;p98"/>
          <p:cNvSpPr txBox="1"/>
          <p:nvPr/>
        </p:nvSpPr>
        <p:spPr>
          <a:xfrm>
            <a:off x="358775" y="3766963"/>
            <a:ext cx="3680788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. 9.3.9 ГОСТ 8.651 и п. 4.1. РМГ-135</a:t>
            </a:r>
            <a:endParaRPr/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Периодичность проведения валидации - один год.</a:t>
            </a:r>
            <a:endParaRPr/>
          </a:p>
        </p:txBody>
      </p:sp>
      <p:pic>
        <p:nvPicPr>
          <p:cNvPr id="1852" name="Google Shape;1852;p98"/>
          <p:cNvPicPr preferRelativeResize="0"/>
          <p:nvPr/>
        </p:nvPicPr>
        <p:blipFill rotWithShape="1">
          <a:blip r:embed="rId7">
            <a:alphaModFix/>
          </a:blip>
          <a:srcRect l="26758" r="6272"/>
          <a:stretch/>
        </p:blipFill>
        <p:spPr>
          <a:xfrm>
            <a:off x="4572000" y="0"/>
            <a:ext cx="4572000" cy="45513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638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57" name="Google Shape;1857;p99"/>
          <p:cNvSpPr/>
          <p:nvPr/>
        </p:nvSpPr>
        <p:spPr>
          <a:xfrm>
            <a:off x="0" y="0"/>
            <a:ext cx="7620000" cy="30400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" name="Google Shape;1857;p99"/>
          <p:cNvSpPr/>
          <p:nvPr/>
        </p:nvSpPr>
        <p:spPr>
          <a:xfrm>
            <a:off x="7620000" y="0"/>
            <a:ext cx="1523999" cy="1522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857;p99"/>
          <p:cNvSpPr/>
          <p:nvPr/>
        </p:nvSpPr>
        <p:spPr>
          <a:xfrm>
            <a:off x="7620000" y="1523554"/>
            <a:ext cx="1523999" cy="15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58" name="Google Shape;1858;p99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Контакты</a:t>
            </a:r>
            <a:endParaRPr lang="ru-RU"/>
          </a:p>
        </p:txBody>
      </p:sp>
      <p:sp>
        <p:nvSpPr>
          <p:cNvPr id="1860" name="Google Shape;1860;p99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39</a:t>
            </a:fld>
            <a:endParaRPr lang="ru-RU"/>
          </a:p>
        </p:txBody>
      </p:sp>
      <p:sp>
        <p:nvSpPr>
          <p:cNvPr id="1861" name="Google Shape;1861;p99"/>
          <p:cNvSpPr txBox="1">
            <a:spLocks noGrp="1"/>
          </p:cNvSpPr>
          <p:nvPr>
            <p:ph type="body" idx="4294967295"/>
          </p:nvPr>
        </p:nvSpPr>
        <p:spPr>
          <a:xfrm>
            <a:off x="2236273" y="2795588"/>
            <a:ext cx="1770063" cy="1431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Pts val="2400"/>
              <a:buNone/>
            </a:pPr>
            <a:r>
              <a:rPr lang="ru-RU" b="1" dirty="0">
                <a:solidFill>
                  <a:schemeClr val="accent2"/>
                </a:solidFill>
              </a:rPr>
              <a:t>Арсений Гусев</a:t>
            </a:r>
            <a:endParaRPr b="1" dirty="0">
              <a:solidFill>
                <a:schemeClr val="accent2"/>
              </a:solidFill>
            </a:endParaRPr>
          </a:p>
          <a:p>
            <a:pPr marL="0" lvl="2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400"/>
              <a:buNone/>
            </a:pPr>
            <a:r>
              <a:rPr lang="ru-RU" sz="1100" dirty="0">
                <a:solidFill>
                  <a:schemeClr val="accent2"/>
                </a:solidFill>
              </a:rPr>
              <a:t>Технический </a:t>
            </a:r>
            <a:br>
              <a:rPr lang="ru-RU" sz="1100" dirty="0">
                <a:solidFill>
                  <a:schemeClr val="accent2"/>
                </a:solidFill>
              </a:rPr>
            </a:br>
            <a:r>
              <a:rPr lang="ru-RU" sz="1100" dirty="0">
                <a:solidFill>
                  <a:schemeClr val="accent2"/>
                </a:solidFill>
              </a:rPr>
              <a:t>директор </a:t>
            </a:r>
            <a:endParaRPr sz="800" dirty="0">
              <a:solidFill>
                <a:schemeClr val="accent2"/>
              </a:solidFill>
            </a:endParaRPr>
          </a:p>
          <a:p>
            <a:pPr marL="0" lvl="3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200"/>
              <a:buNone/>
            </a:pPr>
            <a:r>
              <a:rPr lang="ru-RU" sz="1050" dirty="0" err="1">
                <a:solidFill>
                  <a:schemeClr val="accent2"/>
                </a:solidFill>
              </a:rPr>
              <a:t>Акцентр</a:t>
            </a:r>
            <a:r>
              <a:rPr lang="ru-RU" sz="1050" dirty="0">
                <a:solidFill>
                  <a:schemeClr val="accent2"/>
                </a:solidFill>
              </a:rPr>
              <a:t> </a:t>
            </a:r>
            <a:endParaRPr sz="700" dirty="0">
              <a:solidFill>
                <a:schemeClr val="accent2"/>
              </a:solidFill>
            </a:endParaRPr>
          </a:p>
          <a:p>
            <a:pPr marL="0" lvl="4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100"/>
              <a:buNone/>
            </a:pPr>
            <a:r>
              <a:rPr lang="ru-RU" sz="1000" dirty="0">
                <a:solidFill>
                  <a:schemeClr val="accent1"/>
                </a:solidFill>
              </a:rPr>
              <a:t>+7 (916) 329 88 01</a:t>
            </a:r>
            <a:endParaRPr sz="600" dirty="0">
              <a:solidFill>
                <a:schemeClr val="accent1"/>
              </a:solidFill>
            </a:endParaRPr>
          </a:p>
          <a:p>
            <a:pPr marL="0" lvl="4" indent="0" algn="l" rtl="0">
              <a:spcBef>
                <a:spcPts val="600"/>
              </a:spcBef>
              <a:spcAft>
                <a:spcPts val="600"/>
              </a:spcAft>
              <a:buClr>
                <a:srgbClr val="008C95"/>
              </a:buClr>
              <a:buSzPts val="1100"/>
              <a:buNone/>
            </a:pPr>
            <a:r>
              <a:rPr lang="ru-RU" sz="1000" dirty="0" err="1" smtClean="0">
                <a:solidFill>
                  <a:schemeClr val="accent1"/>
                </a:solidFill>
              </a:rPr>
              <a:t>ag@ax</a:t>
            </a:r>
            <a:r>
              <a:rPr lang="en-US" sz="1000" smtClean="0">
                <a:solidFill>
                  <a:schemeClr val="accent1"/>
                </a:solidFill>
              </a:rPr>
              <a:t>e</a:t>
            </a:r>
            <a:r>
              <a:rPr lang="ru-RU" sz="1000" smtClean="0">
                <a:solidFill>
                  <a:schemeClr val="accent1"/>
                </a:solidFill>
              </a:rPr>
              <a:t>nter.ru</a:t>
            </a:r>
            <a:endParaRPr sz="1000" dirty="0">
              <a:solidFill>
                <a:schemeClr val="accent1"/>
              </a:solidFill>
            </a:endParaRPr>
          </a:p>
        </p:txBody>
      </p:sp>
      <p:sp>
        <p:nvSpPr>
          <p:cNvPr id="1862" name="Google Shape;1862;p99"/>
          <p:cNvSpPr txBox="1">
            <a:spLocks noGrp="1"/>
          </p:cNvSpPr>
          <p:nvPr>
            <p:ph type="body" idx="4294967295"/>
          </p:nvPr>
        </p:nvSpPr>
        <p:spPr>
          <a:xfrm>
            <a:off x="358775" y="2795588"/>
            <a:ext cx="1785938" cy="1431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3D4C"/>
              </a:buClr>
              <a:buSzPts val="2400"/>
              <a:buNone/>
            </a:pPr>
            <a:r>
              <a:rPr lang="ru-RU" b="1" dirty="0">
                <a:solidFill>
                  <a:srgbClr val="003D4C"/>
                </a:solidFill>
              </a:rPr>
              <a:t>Юлия Дорошко</a:t>
            </a:r>
            <a:endParaRPr b="1" dirty="0">
              <a:solidFill>
                <a:srgbClr val="003D4C"/>
              </a:solidFill>
            </a:endParaRPr>
          </a:p>
          <a:p>
            <a:pPr marL="0" lvl="2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400"/>
              <a:buNone/>
            </a:pPr>
            <a:r>
              <a:rPr lang="ru-RU" sz="1100" dirty="0">
                <a:solidFill>
                  <a:srgbClr val="003D4C"/>
                </a:solidFill>
              </a:rPr>
              <a:t>Директор по лабораторным сервисам</a:t>
            </a:r>
            <a:endParaRPr sz="800" dirty="0"/>
          </a:p>
          <a:p>
            <a:pPr marL="0" lvl="3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200"/>
              <a:buNone/>
            </a:pPr>
            <a:r>
              <a:rPr lang="ru-RU" sz="1050" dirty="0" err="1">
                <a:solidFill>
                  <a:schemeClr val="accent2"/>
                </a:solidFill>
              </a:rPr>
              <a:t>Акцентр</a:t>
            </a:r>
            <a:endParaRPr sz="700" dirty="0">
              <a:solidFill>
                <a:schemeClr val="accent2"/>
              </a:solidFill>
            </a:endParaRPr>
          </a:p>
          <a:p>
            <a:pPr marL="0" lvl="4" indent="0" algn="l" rtl="0">
              <a:spcBef>
                <a:spcPts val="600"/>
              </a:spcBef>
              <a:spcAft>
                <a:spcPts val="0"/>
              </a:spcAft>
              <a:buClr>
                <a:srgbClr val="008C95"/>
              </a:buClr>
              <a:buSzPts val="1100"/>
              <a:buNone/>
            </a:pPr>
            <a:r>
              <a:rPr lang="ru-RU" sz="1000" dirty="0">
                <a:solidFill>
                  <a:schemeClr val="accent1"/>
                </a:solidFill>
              </a:rPr>
              <a:t>+7 (901) 688 25 87</a:t>
            </a:r>
            <a:endParaRPr sz="600" dirty="0">
              <a:solidFill>
                <a:schemeClr val="accent1"/>
              </a:solidFill>
            </a:endParaRPr>
          </a:p>
          <a:p>
            <a:pPr marL="0" lvl="4" indent="0" algn="l" rtl="0">
              <a:spcBef>
                <a:spcPts val="600"/>
              </a:spcBef>
              <a:spcAft>
                <a:spcPts val="600"/>
              </a:spcAft>
              <a:buClr>
                <a:srgbClr val="008C95"/>
              </a:buClr>
              <a:buSzPts val="1100"/>
              <a:buNone/>
            </a:pPr>
            <a:r>
              <a:rPr lang="ru-RU" sz="1000" dirty="0">
                <a:solidFill>
                  <a:schemeClr val="accent1"/>
                </a:solidFill>
              </a:rPr>
              <a:t>yuliya.doroshko@axenter.ru</a:t>
            </a:r>
            <a:endParaRPr sz="1000" dirty="0">
              <a:solidFill>
                <a:schemeClr val="accent1"/>
              </a:solidFill>
            </a:endParaRPr>
          </a:p>
        </p:txBody>
      </p:sp>
      <p:pic>
        <p:nvPicPr>
          <p:cNvPr id="1863" name="Google Shape;1863;p99"/>
          <p:cNvPicPr preferRelativeResize="0"/>
          <p:nvPr/>
        </p:nvPicPr>
        <p:blipFill rotWithShape="1">
          <a:blip r:embed="rId7">
            <a:alphaModFix/>
          </a:blip>
          <a:srcRect l="8369" t="9796" r="8370" b="9797"/>
          <a:stretch/>
        </p:blipFill>
        <p:spPr>
          <a:xfrm>
            <a:off x="358775" y="1321148"/>
            <a:ext cx="1427189" cy="1427189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864" name="Google Shape;1864;p99"/>
          <p:cNvPicPr preferRelativeResize="0"/>
          <p:nvPr/>
        </p:nvPicPr>
        <p:blipFill rotWithShape="1">
          <a:blip r:embed="rId8">
            <a:alphaModFix/>
          </a:blip>
          <a:srcRect l="16501" t="13738" r="16494" b="17873"/>
          <a:stretch/>
        </p:blipFill>
        <p:spPr>
          <a:xfrm>
            <a:off x="2236273" y="1321148"/>
            <a:ext cx="1427189" cy="1427189"/>
          </a:xfrm>
          <a:prstGeom prst="ellipse">
            <a:avLst/>
          </a:prstGeom>
          <a:noFill/>
          <a:ln>
            <a:noFill/>
          </a:ln>
        </p:spPr>
      </p:pic>
      <p:sp>
        <p:nvSpPr>
          <p:cNvPr id="1865" name="Google Shape;1865;p99"/>
          <p:cNvSpPr txBox="1"/>
          <p:nvPr/>
        </p:nvSpPr>
        <p:spPr>
          <a:xfrm>
            <a:off x="4113771" y="2795476"/>
            <a:ext cx="1851554" cy="1392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Татьяна Ермакова</a:t>
            </a:r>
            <a:endParaRPr b="1" i="0" u="none" strike="noStrike" cap="none" dirty="0">
              <a:solidFill>
                <a:srgbClr val="003D4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100" b="0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Менеджер, Отраслевые решения. Медицина</a:t>
            </a:r>
            <a:endParaRPr sz="1200" dirty="0"/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100" b="0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СИБУР</a:t>
            </a:r>
            <a:endParaRPr sz="1100" b="0" i="0" u="none" strike="noStrike" cap="none" dirty="0">
              <a:solidFill>
                <a:srgbClr val="003D4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1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+</a:t>
            </a:r>
            <a:r>
              <a:rPr lang="ru-RU" sz="10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7 (916) 378 71 29</a:t>
            </a:r>
            <a:endParaRPr sz="10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ermakovats@sibur.ru</a:t>
            </a:r>
            <a:endParaRPr sz="1200" dirty="0"/>
          </a:p>
        </p:txBody>
      </p:sp>
      <p:pic>
        <p:nvPicPr>
          <p:cNvPr id="1866" name="Google Shape;1866;p99"/>
          <p:cNvPicPr preferRelativeResize="0"/>
          <p:nvPr/>
        </p:nvPicPr>
        <p:blipFill rotWithShape="1">
          <a:blip r:embed="rId9">
            <a:alphaModFix/>
          </a:blip>
          <a:srcRect l="26000" t="26444" r="55583" b="40815"/>
          <a:stretch/>
        </p:blipFill>
        <p:spPr>
          <a:xfrm>
            <a:off x="4113771" y="1320795"/>
            <a:ext cx="1427189" cy="1427189"/>
          </a:xfrm>
          <a:prstGeom prst="ellipse">
            <a:avLst/>
          </a:prstGeom>
          <a:noFill/>
          <a:ln>
            <a:noFill/>
          </a:ln>
        </p:spPr>
      </p:pic>
      <p:sp>
        <p:nvSpPr>
          <p:cNvPr id="1867" name="Google Shape;1867;p99"/>
          <p:cNvSpPr txBox="1"/>
          <p:nvPr/>
        </p:nvSpPr>
        <p:spPr>
          <a:xfrm>
            <a:off x="5991270" y="2795476"/>
            <a:ext cx="1836622" cy="1184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b="1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Ольга Коваленко</a:t>
            </a:r>
            <a:endParaRPr sz="1200" dirty="0"/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100" b="0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Менеджер </a:t>
            </a:r>
            <a:endParaRPr sz="1100" b="0" i="0" u="none" strike="noStrike" cap="none" dirty="0">
              <a:solidFill>
                <a:srgbClr val="003D4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100" b="0" i="0" u="none" strike="noStrike" cap="none" dirty="0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СИБУР </a:t>
            </a:r>
            <a:r>
              <a:rPr lang="ru-RU" sz="1100" b="0" i="0" u="none" strike="noStrike" cap="none" dirty="0" err="1">
                <a:solidFill>
                  <a:srgbClr val="003D4C"/>
                </a:solidFill>
                <a:latin typeface="Arial"/>
                <a:ea typeface="Arial"/>
                <a:cs typeface="Arial"/>
                <a:sym typeface="Arial"/>
              </a:rPr>
              <a:t>Полилаб</a:t>
            </a:r>
            <a:endParaRPr sz="1100" b="0" i="0" u="none" strike="noStrike" cap="none" dirty="0">
              <a:solidFill>
                <a:srgbClr val="003D4C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4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+7 926 078 27 45</a:t>
            </a:r>
            <a:endParaRPr sz="1200" dirty="0"/>
          </a:p>
          <a:p>
            <a:pPr marL="0" marR="0" lvl="4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0" i="0" u="none" strike="noStrike" cap="none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kovalenkoolv@sibur.ru</a:t>
            </a:r>
            <a:endParaRPr sz="10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68" name="Google Shape;1868;p99" descr="https://social.sibur.ru/upload/resize_cache/main/f73/288_296_2/f73d9f09d79818ac51df4e53a2271fff.jpg"/>
          <p:cNvPicPr preferRelativeResize="0"/>
          <p:nvPr/>
        </p:nvPicPr>
        <p:blipFill rotWithShape="1">
          <a:blip r:embed="rId10">
            <a:alphaModFix/>
          </a:blip>
          <a:srcRect l="9592" t="10684" r="9592" b="10685"/>
          <a:stretch/>
        </p:blipFill>
        <p:spPr>
          <a:xfrm>
            <a:off x="5991270" y="1320795"/>
            <a:ext cx="1427189" cy="1427189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4383" y="1662078"/>
            <a:ext cx="864000" cy="86400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7844268" y="2547449"/>
            <a:ext cx="10079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+mn-lt"/>
              </a:rPr>
              <a:t>https://vk.com/sibur_polylab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1955" y="220667"/>
            <a:ext cx="840088" cy="82800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7926343" y="1077984"/>
            <a:ext cx="85888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+mn-lt"/>
                <a:ea typeface="Calibri" panose="020F0502020204030204" pitchFamily="34" charset="0"/>
              </a:rPr>
              <a:t>https://t.me/siburpolylab</a:t>
            </a:r>
            <a:endParaRPr lang="ru-RU" sz="1000" dirty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41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3" name="Google Shape;1373;p63"/>
          <p:cNvSpPr/>
          <p:nvPr/>
        </p:nvSpPr>
        <p:spPr>
          <a:xfrm>
            <a:off x="6096000" y="0"/>
            <a:ext cx="3048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4" name="Google Shape;1374;p63"/>
          <p:cNvSpPr/>
          <p:nvPr/>
        </p:nvSpPr>
        <p:spPr>
          <a:xfrm>
            <a:off x="6240044" y="1653813"/>
            <a:ext cx="244200" cy="2442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5" name="Google Shape;1375;p63"/>
          <p:cNvSpPr/>
          <p:nvPr/>
        </p:nvSpPr>
        <p:spPr>
          <a:xfrm>
            <a:off x="6240044" y="2789019"/>
            <a:ext cx="244200" cy="2442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6" name="Google Shape;1376;p63"/>
          <p:cNvSpPr/>
          <p:nvPr/>
        </p:nvSpPr>
        <p:spPr>
          <a:xfrm>
            <a:off x="6240044" y="3608094"/>
            <a:ext cx="244200" cy="244200"/>
          </a:xfrm>
          <a:prstGeom prst="ellipse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7" name="Google Shape;1377;p63"/>
          <p:cNvSpPr/>
          <p:nvPr/>
        </p:nvSpPr>
        <p:spPr>
          <a:xfrm>
            <a:off x="297635" y="951836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8" name="Google Shape;1378;p63"/>
          <p:cNvSpPr/>
          <p:nvPr/>
        </p:nvSpPr>
        <p:spPr>
          <a:xfrm>
            <a:off x="3137825" y="951836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9" name="Google Shape;1379;p63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4384823" cy="672600"/>
          </a:xfrm>
        </p:spPr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Методы стерилизации </a:t>
            </a:r>
            <a:r>
              <a:rPr lang="ru-RU" dirty="0" smtClean="0"/>
              <a:t>медицинских изделий</a:t>
            </a:r>
            <a:endParaRPr lang="ru-RU" dirty="0"/>
          </a:p>
        </p:txBody>
      </p:sp>
      <p:sp>
        <p:nvSpPr>
          <p:cNvPr id="1395" name="Google Shape;1395;p63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380" name="Google Shape;1380;p63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4</a:t>
            </a:fld>
            <a:endParaRPr lang="ru-RU"/>
          </a:p>
        </p:txBody>
      </p:sp>
      <p:pic>
        <p:nvPicPr>
          <p:cNvPr id="1381" name="Google Shape;1381;p63"/>
          <p:cNvPicPr preferRelativeResize="0"/>
          <p:nvPr/>
        </p:nvPicPr>
        <p:blipFill rotWithShape="1">
          <a:blip r:embed="rId7">
            <a:alphaModFix/>
          </a:blip>
          <a:srcRect t="6732"/>
          <a:stretch/>
        </p:blipFill>
        <p:spPr>
          <a:xfrm>
            <a:off x="358774" y="3549076"/>
            <a:ext cx="2476204" cy="9848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2" name="Google Shape;1382;p63"/>
          <p:cNvPicPr preferRelativeResize="0"/>
          <p:nvPr/>
        </p:nvPicPr>
        <p:blipFill rotWithShape="1">
          <a:blip r:embed="rId8">
            <a:alphaModFix/>
          </a:blip>
          <a:srcRect l="150" r="-150" b="4905"/>
          <a:stretch/>
        </p:blipFill>
        <p:spPr>
          <a:xfrm>
            <a:off x="358774" y="1973671"/>
            <a:ext cx="2476204" cy="1069051"/>
          </a:xfrm>
          <a:prstGeom prst="rect">
            <a:avLst/>
          </a:prstGeom>
          <a:noFill/>
          <a:ln>
            <a:noFill/>
          </a:ln>
        </p:spPr>
      </p:pic>
      <p:sp>
        <p:nvSpPr>
          <p:cNvPr id="1383" name="Google Shape;1383;p63"/>
          <p:cNvSpPr txBox="1"/>
          <p:nvPr/>
        </p:nvSpPr>
        <p:spPr>
          <a:xfrm>
            <a:off x="358774" y="3173669"/>
            <a:ext cx="169100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азовая стерилизация 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оксид этилена)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4" name="Google Shape;1384;p63"/>
          <p:cNvSpPr txBox="1"/>
          <p:nvPr/>
        </p:nvSpPr>
        <p:spPr>
          <a:xfrm>
            <a:off x="358774" y="1583013"/>
            <a:ext cx="251730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адиационная стерилизация 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ускоритель или гамма-установка)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5" name="Google Shape;1385;p63"/>
          <p:cNvSpPr/>
          <p:nvPr/>
        </p:nvSpPr>
        <p:spPr>
          <a:xfrm>
            <a:off x="358774" y="964404"/>
            <a:ext cx="266854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мышленная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терилизация</a:t>
            </a:r>
            <a:endParaRPr/>
          </a:p>
        </p:txBody>
      </p:sp>
      <p:sp>
        <p:nvSpPr>
          <p:cNvPr id="1386" name="Google Shape;1386;p63"/>
          <p:cNvSpPr/>
          <p:nvPr/>
        </p:nvSpPr>
        <p:spPr>
          <a:xfrm>
            <a:off x="3248045" y="964404"/>
            <a:ext cx="266854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нутрибольничная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терилизация (ЦСО)</a:t>
            </a:r>
            <a:endParaRPr/>
          </a:p>
        </p:txBody>
      </p:sp>
      <p:pic>
        <p:nvPicPr>
          <p:cNvPr id="1387" name="Google Shape;1387;p63"/>
          <p:cNvPicPr preferRelativeResize="0"/>
          <p:nvPr/>
        </p:nvPicPr>
        <p:blipFill rotWithShape="1">
          <a:blip r:embed="rId9">
            <a:alphaModFix/>
          </a:blip>
          <a:srcRect l="1777" t="2181"/>
          <a:stretch/>
        </p:blipFill>
        <p:spPr>
          <a:xfrm>
            <a:off x="4708572" y="2055663"/>
            <a:ext cx="1110573" cy="9254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88" name="Google Shape;1388;p6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4850719" y="3776088"/>
            <a:ext cx="751326" cy="757837"/>
          </a:xfrm>
          <a:prstGeom prst="rect">
            <a:avLst/>
          </a:prstGeom>
          <a:noFill/>
          <a:ln>
            <a:noFill/>
          </a:ln>
        </p:spPr>
      </p:pic>
      <p:sp>
        <p:nvSpPr>
          <p:cNvPr id="1389" name="Google Shape;1389;p63"/>
          <p:cNvSpPr txBox="1"/>
          <p:nvPr/>
        </p:nvSpPr>
        <p:spPr>
          <a:xfrm>
            <a:off x="3248045" y="1524210"/>
            <a:ext cx="968275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изкая температура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90" name="Google Shape;1390;p63"/>
          <p:cNvSpPr txBox="1"/>
          <p:nvPr/>
        </p:nvSpPr>
        <p:spPr>
          <a:xfrm>
            <a:off x="4743597" y="1524210"/>
            <a:ext cx="107554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температура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1" name="Google Shape;1391;p63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3271692" y="2085035"/>
            <a:ext cx="1070800" cy="1121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2" name="Google Shape;1392;p63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271708" y="3549071"/>
            <a:ext cx="1070805" cy="9848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3" name="Google Shape;1393;p63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4797773" y="3021001"/>
            <a:ext cx="932147" cy="727663"/>
          </a:xfrm>
          <a:prstGeom prst="rect">
            <a:avLst/>
          </a:prstGeom>
          <a:noFill/>
          <a:ln>
            <a:noFill/>
          </a:ln>
        </p:spPr>
      </p:pic>
      <p:sp>
        <p:nvSpPr>
          <p:cNvPr id="1394" name="Google Shape;1394;p63"/>
          <p:cNvSpPr txBox="1"/>
          <p:nvPr/>
        </p:nvSpPr>
        <p:spPr>
          <a:xfrm>
            <a:off x="6324688" y="324324"/>
            <a:ext cx="2400387" cy="38625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еимущества промышленной стерилизации изделий однократного применения перед внутрибольничной:  </a:t>
            </a:r>
            <a:endParaRPr sz="14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240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адежность процесса стерилизации                (валидацию процесса стерилизации обеспечить проще и дешевле) 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240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производительность (типовая производительность площадки 60 м3 в год)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2400"/>
              </a:spcBef>
              <a:spcAft>
                <a:spcPts val="0"/>
              </a:spcAft>
              <a:buNone/>
            </a:pPr>
            <a:r>
              <a:rPr lang="ru-RU" sz="11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изкая стоимость              (существенно ниже операционные расходы)</a:t>
            </a:r>
            <a:endParaRPr sz="11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1" name="Google Shape;1401;p64"/>
          <p:cNvSpPr txBox="1"/>
          <p:nvPr/>
        </p:nvSpPr>
        <p:spPr>
          <a:xfrm>
            <a:off x="358775" y="3845063"/>
            <a:ext cx="8424000" cy="554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r>
              <a:rPr lang="ru-RU" sz="12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Радиационная стерилизация обладает наилучшими характеристиками, рост данной технологии ограничивается высокими начальными капиталовложениями. </a:t>
            </a:r>
            <a:endParaRPr sz="12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02" name="Google Shape;1402;p64"/>
          <p:cNvGrpSpPr/>
          <p:nvPr/>
        </p:nvGrpSpPr>
        <p:grpSpPr>
          <a:xfrm>
            <a:off x="3879192" y="4548662"/>
            <a:ext cx="4586950" cy="611593"/>
            <a:chOff x="3333636" y="4393671"/>
            <a:chExt cx="4586950" cy="611593"/>
          </a:xfrm>
        </p:grpSpPr>
        <p:grpSp>
          <p:nvGrpSpPr>
            <p:cNvPr id="1403" name="Google Shape;1403;p64"/>
            <p:cNvGrpSpPr/>
            <p:nvPr/>
          </p:nvGrpSpPr>
          <p:grpSpPr>
            <a:xfrm>
              <a:off x="3333636" y="4393671"/>
              <a:ext cx="4586950" cy="611593"/>
              <a:chOff x="0" y="0"/>
              <a:chExt cx="4500" cy="600"/>
            </a:xfrm>
          </p:grpSpPr>
          <p:sp>
            <p:nvSpPr>
              <p:cNvPr id="1404" name="Google Shape;1404;p64"/>
              <p:cNvSpPr/>
              <p:nvPr/>
            </p:nvSpPr>
            <p:spPr>
              <a:xfrm>
                <a:off x="0" y="0"/>
                <a:ext cx="4200" cy="600"/>
              </a:xfrm>
              <a:prstGeom prst="rect">
                <a:avLst/>
              </a:prstGeom>
              <a:noFill/>
              <a:ln w="9525" cap="flat" cmpd="sng">
                <a:solidFill>
                  <a:srgbClr val="FFFFF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700"/>
                  <a:buFont typeface="Arial"/>
                  <a:buNone/>
                </a:pPr>
                <a:endParaRPr sz="7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405" name="Google Shape;1405;p64"/>
              <p:cNvSpPr/>
              <p:nvPr/>
            </p:nvSpPr>
            <p:spPr>
              <a:xfrm>
                <a:off x="328" y="0"/>
                <a:ext cx="4172" cy="3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34275" bIns="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rgbClr val="141313"/>
                  </a:buClr>
                  <a:buSzPts val="700"/>
                  <a:buFont typeface="Arial"/>
                  <a:buNone/>
                </a:pPr>
                <a:r>
                  <a:rPr lang="ru-RU" sz="700" b="1">
                    <a:solidFill>
                      <a:srgbClr val="141313"/>
                    </a:solidFill>
                    <a:latin typeface="Arial"/>
                    <a:ea typeface="Arial"/>
                    <a:cs typeface="Arial"/>
                    <a:sym typeface="Arial"/>
                  </a:rPr>
                  <a:t>Условные обозначения</a:t>
                </a:r>
                <a:endParaRPr sz="700" b="1">
                  <a:solidFill>
                    <a:srgbClr val="141313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723900" marR="0" lvl="0" indent="0" algn="l" rtl="0">
                  <a:spcBef>
                    <a:spcPts val="300"/>
                  </a:spcBef>
                  <a:spcAft>
                    <a:spcPts val="0"/>
                  </a:spcAft>
                  <a:buClr>
                    <a:srgbClr val="141313"/>
                  </a:buClr>
                  <a:buSzPts val="700"/>
                  <a:buFont typeface="Arial"/>
                  <a:buNone/>
                </a:pPr>
                <a:r>
                  <a:rPr lang="ru-RU" sz="700">
                    <a:solidFill>
                      <a:srgbClr val="141313"/>
                    </a:solidFill>
                    <a:latin typeface="Arial"/>
                    <a:ea typeface="Arial"/>
                    <a:cs typeface="Arial"/>
                    <a:sym typeface="Arial"/>
                  </a:rPr>
                  <a:t>Наилучший показатель по данному параметру среди рассматриваемых технологий</a:t>
                </a:r>
                <a:endParaRPr sz="700">
                  <a:solidFill>
                    <a:srgbClr val="141313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72390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rgbClr val="141313"/>
                  </a:buClr>
                  <a:buSzPts val="700"/>
                  <a:buFont typeface="Arial"/>
                  <a:buNone/>
                </a:pPr>
                <a:r>
                  <a:rPr lang="ru-RU" sz="700">
                    <a:solidFill>
                      <a:srgbClr val="141313"/>
                    </a:solidFill>
                    <a:latin typeface="Arial"/>
                    <a:ea typeface="Arial"/>
                    <a:cs typeface="Arial"/>
                    <a:sym typeface="Arial"/>
                  </a:rPr>
                  <a:t>Средний показатель по данному параметру среди рассматриваемых технологий</a:t>
                </a:r>
                <a:endParaRPr sz="700">
                  <a:solidFill>
                    <a:srgbClr val="141313"/>
                  </a:solidFill>
                  <a:latin typeface="Arial"/>
                  <a:ea typeface="Arial"/>
                  <a:cs typeface="Arial"/>
                  <a:sym typeface="Arial"/>
                </a:endParaRPr>
              </a:p>
              <a:p>
                <a:pPr marL="72390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rgbClr val="141313"/>
                  </a:buClr>
                  <a:buSzPts val="700"/>
                  <a:buFont typeface="Arial"/>
                  <a:buNone/>
                </a:pPr>
                <a:r>
                  <a:rPr lang="ru-RU" sz="700">
                    <a:solidFill>
                      <a:srgbClr val="141313"/>
                    </a:solidFill>
                    <a:latin typeface="Arial"/>
                    <a:ea typeface="Arial"/>
                    <a:cs typeface="Arial"/>
                    <a:sym typeface="Arial"/>
                  </a:rPr>
                  <a:t>Наихудший показатель по данному параметру среди рассматриваемых технологий</a:t>
                </a:r>
                <a:endParaRPr sz="700">
                  <a:solidFill>
                    <a:srgbClr val="141313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1406" name="Google Shape;1406;p64"/>
            <p:cNvSpPr/>
            <p:nvPr/>
          </p:nvSpPr>
          <p:spPr>
            <a:xfrm>
              <a:off x="3714614" y="4675857"/>
              <a:ext cx="541500" cy="72000"/>
            </a:xfrm>
            <a:prstGeom prst="rect">
              <a:avLst/>
            </a:prstGeom>
            <a:solidFill>
              <a:srgbClr val="FABE19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1407" name="Google Shape;1407;p64"/>
            <p:cNvSpPr/>
            <p:nvPr/>
          </p:nvSpPr>
          <p:spPr>
            <a:xfrm>
              <a:off x="3714614" y="4571689"/>
              <a:ext cx="541500" cy="72000"/>
            </a:xfrm>
            <a:prstGeom prst="rect">
              <a:avLst/>
            </a:prstGeom>
            <a:solidFill>
              <a:srgbClr val="77E2C3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endParaRPr>
            </a:p>
          </p:txBody>
        </p:sp>
        <p:sp>
          <p:nvSpPr>
            <p:cNvPr id="1408" name="Google Shape;1408;p64"/>
            <p:cNvSpPr/>
            <p:nvPr/>
          </p:nvSpPr>
          <p:spPr>
            <a:xfrm>
              <a:off x="3714614" y="4780026"/>
              <a:ext cx="541500" cy="72000"/>
            </a:xfrm>
            <a:prstGeom prst="rect">
              <a:avLst/>
            </a:prstGeom>
            <a:solidFill>
              <a:srgbClr val="FA786E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800"/>
                <a:buFont typeface="Arial"/>
                <a:buNone/>
              </a:pPr>
              <a:endParaRPr sz="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endParaRPr>
            </a:p>
          </p:txBody>
        </p:sp>
      </p:grpSp>
      <p:sp>
        <p:nvSpPr>
          <p:cNvPr id="1409" name="Google Shape;1409;p64"/>
          <p:cNvSpPr txBox="1"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/>
              <a:t>Сравнение </a:t>
            </a:r>
            <a:r>
              <a:rPr lang="ru-RU">
                <a:solidFill>
                  <a:schemeClr val="accent6"/>
                </a:solidFill>
              </a:rPr>
              <a:t>промышленных технологий </a:t>
            </a:r>
            <a:r>
              <a:rPr lang="ru-RU"/>
              <a:t>стерилизации</a:t>
            </a:r>
            <a:endParaRPr/>
          </a:p>
        </p:txBody>
      </p:sp>
      <p:sp>
        <p:nvSpPr>
          <p:cNvPr id="1410" name="Google Shape;1410;p64"/>
          <p:cNvSpPr txBox="1">
            <a:spLocks noGrp="1"/>
          </p:cNvSpPr>
          <p:nvPr>
            <p:ph type="sldNum" idx="12"/>
          </p:nvPr>
        </p:nvSpPr>
        <p:spPr>
          <a:xfrm>
            <a:off x="8466142" y="4760859"/>
            <a:ext cx="319083" cy="18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rtl="0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dirty="0"/>
          </a:p>
        </p:txBody>
      </p:sp>
      <p:sp>
        <p:nvSpPr>
          <p:cNvPr id="1411" name="Google Shape;1411;p64"/>
          <p:cNvSpPr/>
          <p:nvPr/>
        </p:nvSpPr>
        <p:spPr>
          <a:xfrm>
            <a:off x="2136000" y="4550451"/>
            <a:ext cx="1575743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4275" bIns="0" anchor="t" anchorCtr="0">
            <a:noAutofit/>
          </a:bodyPr>
          <a:lstStyle/>
          <a:p>
            <a:pPr marL="3810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r>
              <a:rPr lang="ru-RU" sz="7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 требуется валидация процесса радиационной стерилизации </a:t>
            </a:r>
            <a:endParaRPr sz="700" i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810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r>
              <a:rPr lang="ru-RU" sz="7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** Источник данных для сравнения -  данные Акцентр 2023</a:t>
            </a:r>
            <a:endParaRPr sz="12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1412" name="Google Shape;1412;p64"/>
          <p:cNvGraphicFramePr/>
          <p:nvPr/>
        </p:nvGraphicFramePr>
        <p:xfrm>
          <a:off x="358774" y="751840"/>
          <a:ext cx="8424000" cy="2939950"/>
        </p:xfrm>
        <a:graphic>
          <a:graphicData uri="http://schemas.openxmlformats.org/drawingml/2006/table">
            <a:tbl>
              <a:tblPr>
                <a:noFill/>
                <a:tableStyleId>{168C4699-AB98-44C9-B31D-74A4D996D0A0}</a:tableStyleId>
              </a:tblPr>
              <a:tblGrid>
                <a:gridCol w="248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7225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endParaRPr sz="1000" u="none" strike="noStrike" cap="none"/>
                    </a:p>
                  </a:txBody>
                  <a:tcPr marL="36000" marR="36000" marT="0" marB="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Термическая</a:t>
                      </a:r>
                      <a:endParaRPr sz="1000" b="1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Химическая</a:t>
                      </a:r>
                      <a:endParaRPr sz="1000" b="1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/>
                        <a:t>Радиационная</a:t>
                      </a:r>
                      <a:endParaRPr sz="1000" b="1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4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>
                          <a:solidFill>
                            <a:srgbClr val="00313C"/>
                          </a:solidFill>
                        </a:rPr>
                        <a:t>Описание технологии</a:t>
                      </a:r>
                      <a:endParaRPr sz="1000" b="1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Паровая - обработка насыщенным водяным паром под давлением.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Газовая – пары окиси этилена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(этиленоксидная стерилизация, (EtO)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Электронный пучок ускорителя (ebeam).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Гамма-излучение от изотопа Co-60 (Gamma).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18000" marR="18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94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b="1" u="none" strike="noStrike" cap="none">
                          <a:solidFill>
                            <a:srgbClr val="00313C"/>
                          </a:solidFill>
                        </a:rPr>
                        <a:t>Регулирующий стандарт</a:t>
                      </a:r>
                      <a:endParaRPr sz="1000" b="1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ГОСТ Р ИСО 11134-2000 Промышленная стерилизация </a:t>
                      </a:r>
                      <a:b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</a:b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влажным теплом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ГОСТ ISO 11135-2017 </a:t>
                      </a:r>
                      <a:b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</a:b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ЭТИЛЕНОКСИД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>
                          <a:solidFill>
                            <a:srgbClr val="00313C"/>
                          </a:solidFill>
                        </a:rPr>
                        <a:t>ГОСТ ISO 11137-1-2011 РАДИАЦИОННАЯ СТЕРИЛИЗАЦИЯ</a:t>
                      </a:r>
                      <a:endParaRPr sz="8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7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 dirty="0">
                          <a:solidFill>
                            <a:srgbClr val="00313C"/>
                          </a:solidFill>
                        </a:rPr>
                        <a:t>Производительность</a:t>
                      </a:r>
                      <a:endParaRPr sz="1000" u="none" strike="noStrike" cap="none" dirty="0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ая (малый объем)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ая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ая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8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Длительность цикла обработки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средняя (часы)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BE1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длительная</a:t>
                      </a:r>
                      <a:endParaRPr sz="800" u="none" strike="noStrike" cap="none"/>
                    </a:p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(длительная аэрация)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ая (минуты)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средняя (часы)</a:t>
                      </a:r>
                      <a:endParaRPr sz="800" u="none" strike="noStrike" cap="none"/>
                    </a:p>
                  </a:txBody>
                  <a:tcPr marL="18000" marR="18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8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Экологическая безопасность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ая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ая</a:t>
                      </a:r>
                      <a:endParaRPr sz="800" u="none" strike="noStrike" cap="none"/>
                    </a:p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(токсичность и канцерогенность)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ая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средняя</a:t>
                      </a:r>
                      <a:endParaRPr sz="800" u="none" strike="noStrike" cap="none"/>
                    </a:p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(утилизация Co-60)</a:t>
                      </a:r>
                      <a:endParaRPr sz="800" u="none" strike="noStrike" cap="none"/>
                    </a:p>
                  </a:txBody>
                  <a:tcPr marL="18000" marR="18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Объем капиталовложений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ий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средний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ий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7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Операционные расходы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Высокие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ие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ие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изкие</a:t>
                      </a:r>
                      <a:endParaRPr sz="800" u="none" strike="noStrike" cap="none"/>
                    </a:p>
                  </a:txBody>
                  <a:tcPr marL="18000" marR="18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83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Требования к упаковке (цена)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термостойкая и паропроницаемая упаковка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газопроницаемая упаковка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без ограничений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722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313C"/>
                        </a:buClr>
                        <a:buSzPts val="1000"/>
                        <a:buFont typeface="Arial"/>
                        <a:buNone/>
                      </a:pPr>
                      <a:r>
                        <a:rPr lang="ru-RU" sz="1000" u="none" strike="noStrike" cap="none">
                          <a:solidFill>
                            <a:srgbClr val="00313C"/>
                          </a:solidFill>
                        </a:rPr>
                        <a:t>Совместимость с материалами</a:t>
                      </a:r>
                      <a:endParaRPr sz="1000" u="none" strike="noStrike" cap="none">
                        <a:solidFill>
                          <a:srgbClr val="00313C"/>
                        </a:solidFill>
                      </a:endParaRPr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термостойкие материалы только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A786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/>
                        <a:t>не абсорбирующие материалы</a:t>
                      </a:r>
                      <a:endParaRPr sz="800" u="none" strike="noStrike" cap="none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800"/>
                        <a:buFont typeface="Arial"/>
                        <a:buNone/>
                      </a:pPr>
                      <a:r>
                        <a:rPr lang="ru-RU" sz="800" u="none" strike="noStrike" cap="none" dirty="0"/>
                        <a:t>без ограничений**</a:t>
                      </a:r>
                      <a:endParaRPr sz="800" u="none" strike="noStrike" cap="none" dirty="0"/>
                    </a:p>
                  </a:txBody>
                  <a:tcPr marL="36000" marR="36000" marT="0" marB="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dk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77E2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038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oogle Shape;1424;p65"/>
          <p:cNvPicPr preferRelativeResize="0"/>
          <p:nvPr/>
        </p:nvPicPr>
        <p:blipFill rotWithShape="1">
          <a:blip r:embed="rId7">
            <a:alphaModFix/>
          </a:blip>
          <a:srcRect l="23789" t="27416" r="22774" b="36284"/>
          <a:stretch/>
        </p:blipFill>
        <p:spPr>
          <a:xfrm>
            <a:off x="4572000" y="0"/>
            <a:ext cx="4572000" cy="1743397"/>
          </a:xfrm>
          <a:prstGeom prst="rect">
            <a:avLst/>
          </a:prstGeom>
          <a:noFill/>
          <a:ln>
            <a:noFill/>
          </a:ln>
        </p:spPr>
      </p:pic>
      <p:sp>
        <p:nvSpPr>
          <p:cNvPr id="1419" name="Google Shape;1419;p65"/>
          <p:cNvSpPr/>
          <p:nvPr/>
        </p:nvSpPr>
        <p:spPr>
          <a:xfrm>
            <a:off x="0" y="0"/>
            <a:ext cx="4572000" cy="455136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0" name="Google Shape;1420;p65"/>
          <p:cNvSpPr txBox="1">
            <a:spLocks noGrp="1"/>
          </p:cNvSpPr>
          <p:nvPr>
            <p:ph type="title"/>
          </p:nvPr>
        </p:nvSpPr>
        <p:spPr>
          <a:xfrm>
            <a:off x="358775" y="347883"/>
            <a:ext cx="2879725" cy="672627"/>
          </a:xfrm>
        </p:spPr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Распространение</a:t>
            </a:r>
            <a:r>
              <a:rPr lang="ru-RU" dirty="0" smtClean="0"/>
              <a:t> технологий стерилизации</a:t>
            </a:r>
            <a:endParaRPr lang="ru-RU" dirty="0"/>
          </a:p>
        </p:txBody>
      </p:sp>
      <p:sp>
        <p:nvSpPr>
          <p:cNvPr id="1421" name="Google Shape;1421;p65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422" name="Google Shape;1422;p65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6</a:t>
            </a:fld>
            <a:endParaRPr lang="ru-RU" dirty="0"/>
          </a:p>
        </p:txBody>
      </p:sp>
      <p:sp>
        <p:nvSpPr>
          <p:cNvPr id="1423" name="Google Shape;1423;p65"/>
          <p:cNvSpPr/>
          <p:nvPr/>
        </p:nvSpPr>
        <p:spPr>
          <a:xfrm>
            <a:off x="358775" y="1593063"/>
            <a:ext cx="3410586" cy="22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0" bIns="3427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000"/>
              <a:buFont typeface="Arial"/>
              <a:buNone/>
            </a:pPr>
            <a:r>
              <a:rPr lang="ru-RU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 России большая доля стерилизации электронным пучком в виду ряда фактов: </a:t>
            </a:r>
            <a:endParaRPr sz="11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563" marR="0" lvl="0" indent="-17145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ru-R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оссия - лидер в ускорительной технике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563" marR="0" lvl="0" indent="-17145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ru-R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компетенция инженеров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82563" marR="0" lvl="0" indent="-171450" algn="l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ru-RU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изкая стоимость эл-энергии</a:t>
            </a: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000"/>
              <a:buFont typeface="Arial"/>
              <a:buNone/>
            </a:pPr>
            <a:r>
              <a:rPr lang="ru-RU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адиационная стерилизация преимущественно предоставляется в виде </a:t>
            </a:r>
            <a:r>
              <a:rPr lang="ru-RU" sz="1100" b="1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t-source</a:t>
            </a:r>
            <a:r>
              <a:rPr lang="ru-RU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услуги. </a:t>
            </a:r>
            <a:endParaRPr sz="11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accent5"/>
              </a:buClr>
              <a:buSzPts val="1000"/>
              <a:buFont typeface="Arial"/>
              <a:buNone/>
            </a:pPr>
            <a:r>
              <a:rPr lang="ru-RU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азовая стерилизация (оксид этилена) используется на предприятиях, производящих мед. изделия </a:t>
            </a:r>
            <a:r>
              <a:rPr lang="ru-RU" sz="1100" b="1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-house</a:t>
            </a:r>
            <a:r>
              <a:rPr lang="ru-RU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1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1200"/>
              </a:spcAft>
              <a:buClr>
                <a:schemeClr val="dk1"/>
              </a:buClr>
              <a:buSzPts val="900"/>
              <a:buFont typeface="Arial"/>
              <a:buNone/>
            </a:pPr>
            <a:endParaRPr sz="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5" name="Google Shape;1425;p65"/>
          <p:cNvSpPr txBox="1"/>
          <p:nvPr/>
        </p:nvSpPr>
        <p:spPr>
          <a:xfrm>
            <a:off x="6801450" y="2546913"/>
            <a:ext cx="22374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r>
              <a:rPr lang="ru-RU" sz="7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сточник: МАГАТЭ 2023</a:t>
            </a:r>
            <a:endParaRPr sz="700" i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6" name="Google Shape;1426;p65"/>
          <p:cNvSpPr txBox="1"/>
          <p:nvPr/>
        </p:nvSpPr>
        <p:spPr>
          <a:xfrm>
            <a:off x="6640138" y="4341412"/>
            <a:ext cx="22374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r>
              <a:rPr lang="ru-RU" sz="7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сточник: данные IIA 2017</a:t>
            </a:r>
            <a:endParaRPr sz="700" i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7" name="Google Shape;1427;p65"/>
          <p:cNvSpPr txBox="1"/>
          <p:nvPr/>
        </p:nvSpPr>
        <p:spPr>
          <a:xfrm>
            <a:off x="6478825" y="1720679"/>
            <a:ext cx="2237400" cy="29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</a:pPr>
            <a:r>
              <a:rPr lang="ru-RU" sz="7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сточник: Данные Акцентр 2023</a:t>
            </a:r>
            <a:endParaRPr sz="700" i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28" name="Google Shape;1428;p65"/>
          <p:cNvPicPr preferRelativeResize="0"/>
          <p:nvPr/>
        </p:nvPicPr>
        <p:blipFill rotWithShape="1">
          <a:blip r:embed="rId7">
            <a:alphaModFix/>
          </a:blip>
          <a:srcRect l="61901" t="86643" r="23810" b="3064"/>
          <a:stretch/>
        </p:blipFill>
        <p:spPr>
          <a:xfrm>
            <a:off x="4699270" y="1239928"/>
            <a:ext cx="1098219" cy="44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29" name="Google Shape;1429;p65" title="Диаграмма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895620" y="3302370"/>
            <a:ext cx="3820605" cy="1053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30" name="Google Shape;1430;p65" title="Диаграмма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895626" y="2083162"/>
            <a:ext cx="3820599" cy="10538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7734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6" name="Google Shape;1436;p66"/>
          <p:cNvSpPr/>
          <p:nvPr/>
        </p:nvSpPr>
        <p:spPr>
          <a:xfrm>
            <a:off x="297635" y="859236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7" name="Google Shape;1437;p66"/>
          <p:cNvSpPr/>
          <p:nvPr/>
        </p:nvSpPr>
        <p:spPr>
          <a:xfrm>
            <a:off x="3137825" y="859236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8" name="Google Shape;1438;p66"/>
          <p:cNvSpPr/>
          <p:nvPr/>
        </p:nvSpPr>
        <p:spPr>
          <a:xfrm>
            <a:off x="6107139" y="859236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39" name="Google Shape;1439;p6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321507" y="2617434"/>
            <a:ext cx="2317985" cy="1944529"/>
          </a:xfrm>
          <a:prstGeom prst="rect">
            <a:avLst/>
          </a:prstGeom>
          <a:noFill/>
          <a:ln>
            <a:noFill/>
          </a:ln>
        </p:spPr>
      </p:pic>
      <p:sp>
        <p:nvSpPr>
          <p:cNvPr id="1440" name="Google Shape;1440;p6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Природа</a:t>
            </a:r>
            <a:r>
              <a:rPr lang="ru-RU" dirty="0" smtClean="0"/>
              <a:t> ионизирующего излучения</a:t>
            </a:r>
            <a:endParaRPr lang="ru-RU" dirty="0"/>
          </a:p>
        </p:txBody>
      </p:sp>
      <p:sp>
        <p:nvSpPr>
          <p:cNvPr id="1441" name="Google Shape;1441;p66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442" name="Google Shape;1442;p66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7</a:t>
            </a:fld>
            <a:endParaRPr lang="ru-RU"/>
          </a:p>
        </p:txBody>
      </p:sp>
      <p:sp>
        <p:nvSpPr>
          <p:cNvPr id="1443" name="Google Shape;1443;p66"/>
          <p:cNvSpPr/>
          <p:nvPr/>
        </p:nvSpPr>
        <p:spPr>
          <a:xfrm>
            <a:off x="358774" y="896264"/>
            <a:ext cx="2501265" cy="13696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адиация - ионизирующее излучение: 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оток микрочастиц, способных ионизировать вещество  (включая отдельные случае видимого, ультрафиолетового, рентгеновского и гамма электромагнитных изучений, а также потоки ускоренных частиц).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4" name="Google Shape;1444;p66"/>
          <p:cNvSpPr txBox="1"/>
          <p:nvPr/>
        </p:nvSpPr>
        <p:spPr>
          <a:xfrm>
            <a:off x="3219694" y="896264"/>
            <a:ext cx="2601986" cy="1215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адиоактивный распад</a:t>
            </a:r>
            <a:b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естественный процесс)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понтанное изменение состава (заряда Z, массового числа A) или внутреннего строения нестабильных атомных ядер путём испускания элементарных частиц, гамма-квантов и/или ядерных фрагментов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5" name="Google Shape;1445;p66"/>
          <p:cNvSpPr txBox="1"/>
          <p:nvPr/>
        </p:nvSpPr>
        <p:spPr>
          <a:xfrm>
            <a:off x="6175775" y="896264"/>
            <a:ext cx="2609450" cy="1600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енератор излучения </a:t>
            </a:r>
            <a:b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(искусственный процесс)</a:t>
            </a: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Электротехнический прибор, в котором генерируется на основе физических законов поток ионизирующего излечения: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УФ лампа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Электронно-лучевая трубка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Рентгеновская трубка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marR="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Ускоритель электронов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6" name="Google Shape;1446;p66"/>
          <p:cNvSpPr txBox="1"/>
          <p:nvPr/>
        </p:nvSpPr>
        <p:spPr>
          <a:xfrm>
            <a:off x="3219694" y="2657136"/>
            <a:ext cx="2601986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иды распадов:  Альфа-, Бетта-, Гамма-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47" name="Google Shape;1447;p6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185450" y="3170757"/>
            <a:ext cx="2774900" cy="942575"/>
          </a:xfrm>
          <a:prstGeom prst="rect">
            <a:avLst/>
          </a:prstGeom>
          <a:noFill/>
          <a:ln>
            <a:noFill/>
          </a:ln>
        </p:spPr>
      </p:pic>
      <p:sp>
        <p:nvSpPr>
          <p:cNvPr id="1448" name="Google Shape;1448;p66"/>
          <p:cNvSpPr txBox="1"/>
          <p:nvPr/>
        </p:nvSpPr>
        <p:spPr>
          <a:xfrm>
            <a:off x="3219694" y="4242032"/>
            <a:ext cx="2400000" cy="384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 распаде Co-60 вылетает </a:t>
            </a:r>
            <a:b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 гамма-кванта 1,173 и 1,333 МэВ.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449" name="Google Shape;1449;p66"/>
          <p:cNvGrpSpPr/>
          <p:nvPr/>
        </p:nvGrpSpPr>
        <p:grpSpPr>
          <a:xfrm>
            <a:off x="764337" y="2972967"/>
            <a:ext cx="1336850" cy="1233450"/>
            <a:chOff x="6096000" y="841025"/>
            <a:chExt cx="1336850" cy="1233450"/>
          </a:xfrm>
        </p:grpSpPr>
        <p:sp>
          <p:nvSpPr>
            <p:cNvPr id="1450" name="Google Shape;1450;p66"/>
            <p:cNvSpPr/>
            <p:nvPr/>
          </p:nvSpPr>
          <p:spPr>
            <a:xfrm>
              <a:off x="6096000" y="1177000"/>
              <a:ext cx="541800" cy="5418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rgbClr val="E04E3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E04E39"/>
                </a:buClr>
                <a:buSzPts val="1800"/>
                <a:buFont typeface="Arial"/>
                <a:buNone/>
              </a:pPr>
              <a:r>
                <a:rPr lang="ru-RU" sz="1800" b="1">
                  <a:solidFill>
                    <a:srgbClr val="E04E39"/>
                  </a:solidFill>
                  <a:latin typeface="Arial"/>
                  <a:ea typeface="Arial"/>
                  <a:cs typeface="Arial"/>
                  <a:sym typeface="Arial"/>
                </a:rPr>
                <a:t>+</a:t>
              </a:r>
              <a:endParaRPr sz="1800" b="1">
                <a:solidFill>
                  <a:srgbClr val="E04E3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1" name="Google Shape;1451;p66"/>
            <p:cNvSpPr/>
            <p:nvPr/>
          </p:nvSpPr>
          <p:spPr>
            <a:xfrm>
              <a:off x="6437100" y="1131900"/>
              <a:ext cx="319200" cy="3192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Arial"/>
                <a:buNone/>
              </a:pPr>
              <a:r>
                <a:rPr lang="ru-RU" sz="18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-</a:t>
              </a:r>
              <a:endParaRPr sz="1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2" name="Google Shape;1452;p66"/>
            <p:cNvSpPr/>
            <p:nvPr/>
          </p:nvSpPr>
          <p:spPr>
            <a:xfrm>
              <a:off x="7002350" y="841025"/>
              <a:ext cx="319200" cy="3192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360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Arial"/>
                <a:buNone/>
              </a:pPr>
              <a:r>
                <a:rPr lang="ru-RU" sz="1800" b="1">
                  <a:solidFill>
                    <a:schemeClr val="accent1"/>
                  </a:solidFill>
                  <a:latin typeface="Arial"/>
                  <a:ea typeface="Arial"/>
                  <a:cs typeface="Arial"/>
                  <a:sym typeface="Arial"/>
                </a:rPr>
                <a:t>-</a:t>
              </a:r>
              <a:endParaRPr sz="18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3" name="Google Shape;1453;p66"/>
            <p:cNvSpPr/>
            <p:nvPr/>
          </p:nvSpPr>
          <p:spPr>
            <a:xfrm>
              <a:off x="6891050" y="1532675"/>
              <a:ext cx="541800" cy="541800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rgbClr val="E04E3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rgbClr val="E04E39"/>
                </a:buClr>
                <a:buSzPts val="1800"/>
                <a:buFont typeface="Arial"/>
                <a:buNone/>
              </a:pPr>
              <a:r>
                <a:rPr lang="ru-RU" sz="1800" b="1">
                  <a:solidFill>
                    <a:srgbClr val="E04E39"/>
                  </a:solidFill>
                  <a:latin typeface="Arial"/>
                  <a:ea typeface="Arial"/>
                  <a:cs typeface="Arial"/>
                  <a:sym typeface="Arial"/>
                </a:rPr>
                <a:t>+</a:t>
              </a:r>
              <a:endParaRPr sz="1800" b="1">
                <a:solidFill>
                  <a:srgbClr val="E04E39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454" name="Google Shape;1454;p66"/>
            <p:cNvCxnSpPr>
              <a:stCxn id="1450" idx="5"/>
              <a:endCxn id="1453" idx="2"/>
            </p:cNvCxnSpPr>
            <p:nvPr/>
          </p:nvCxnSpPr>
          <p:spPr>
            <a:xfrm>
              <a:off x="6558455" y="1639455"/>
              <a:ext cx="332700" cy="164100"/>
            </a:xfrm>
            <a:prstGeom prst="straightConnector1">
              <a:avLst/>
            </a:prstGeom>
            <a:noFill/>
            <a:ln w="19050" cap="flat" cmpd="sng">
              <a:solidFill>
                <a:srgbClr val="E04E39"/>
              </a:solidFill>
              <a:prstDash val="solid"/>
              <a:round/>
              <a:headEnd type="none" w="sm" len="sm"/>
              <a:tailEnd type="triangle" w="med" len="med"/>
            </a:ln>
          </p:spPr>
        </p:cxnSp>
        <p:cxnSp>
          <p:nvCxnSpPr>
            <p:cNvPr id="1455" name="Google Shape;1455;p66"/>
            <p:cNvCxnSpPr>
              <a:stCxn id="1451" idx="7"/>
              <a:endCxn id="1452" idx="2"/>
            </p:cNvCxnSpPr>
            <p:nvPr/>
          </p:nvCxnSpPr>
          <p:spPr>
            <a:xfrm rot="10800000" flipH="1">
              <a:off x="6709554" y="1000746"/>
              <a:ext cx="292800" cy="177900"/>
            </a:xfrm>
            <a:prstGeom prst="straightConnector1">
              <a:avLst/>
            </a:prstGeom>
            <a:noFill/>
            <a:ln w="19050" cap="flat" cmpd="sng">
              <a:solidFill>
                <a:schemeClr val="accent1"/>
              </a:solidFill>
              <a:prstDash val="solid"/>
              <a:round/>
              <a:headEnd type="none" w="sm" len="sm"/>
              <a:tailEnd type="triangle" w="med" len="med"/>
            </a:ln>
          </p:spPr>
        </p:cxnSp>
      </p:grpSp>
      <p:sp>
        <p:nvSpPr>
          <p:cNvPr id="1456" name="Google Shape;1456;p66"/>
          <p:cNvSpPr txBox="1"/>
          <p:nvPr/>
        </p:nvSpPr>
        <p:spPr>
          <a:xfrm>
            <a:off x="358775" y="2657136"/>
            <a:ext cx="1500000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онизация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1" name="Google Shape;1461;p67"/>
          <p:cNvSpPr/>
          <p:nvPr/>
        </p:nvSpPr>
        <p:spPr>
          <a:xfrm>
            <a:off x="297635" y="2225700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2" name="Google Shape;1462;p67"/>
          <p:cNvSpPr/>
          <p:nvPr/>
        </p:nvSpPr>
        <p:spPr>
          <a:xfrm>
            <a:off x="3229265" y="2225700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3" name="Google Shape;1463;p67"/>
          <p:cNvSpPr/>
          <p:nvPr/>
        </p:nvSpPr>
        <p:spPr>
          <a:xfrm>
            <a:off x="6107139" y="2225700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4" name="Google Shape;1464;p67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mtClean="0"/>
              <a:t>Промышленные установки для радиационной стерилизации</a:t>
            </a:r>
            <a:endParaRPr lang="ru-RU"/>
          </a:p>
        </p:txBody>
      </p:sp>
      <p:sp>
        <p:nvSpPr>
          <p:cNvPr id="1472" name="Google Shape;1472;p67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465" name="Google Shape;1465;p67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8</a:t>
            </a:fld>
            <a:endParaRPr lang="ru-RU"/>
          </a:p>
        </p:txBody>
      </p:sp>
      <p:sp>
        <p:nvSpPr>
          <p:cNvPr id="1466" name="Google Shape;1466;p67"/>
          <p:cNvSpPr/>
          <p:nvPr/>
        </p:nvSpPr>
        <p:spPr>
          <a:xfrm>
            <a:off x="358774" y="2258428"/>
            <a:ext cx="2501265" cy="2139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учок ускоренных электронов</a:t>
            </a:r>
            <a:b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злучение генерируется на промышленных  ускорителях электронов. 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люсы: 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отсутствие радионуклидных источников радиации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производительность и эффективность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инусы: 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изкая проникающая способность излучения.</a:t>
            </a:r>
            <a:endParaRPr/>
          </a:p>
        </p:txBody>
      </p:sp>
      <p:sp>
        <p:nvSpPr>
          <p:cNvPr id="1467" name="Google Shape;1467;p67"/>
          <p:cNvSpPr txBox="1"/>
          <p:nvPr/>
        </p:nvSpPr>
        <p:spPr>
          <a:xfrm>
            <a:off x="3288031" y="2258428"/>
            <a:ext cx="2601986" cy="22929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Тормозное рентгеновское излучение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злучение генерируется на промышленных  ускорителях электронов с последующим преобразованием пучка электронов в рентгеновское излучение при помощи танталовой мишени.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люсы: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проникающая способность,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отсутствие радионуклидных источников 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инусы: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изкая эффективность и производительность</a:t>
            </a:r>
            <a:endParaRPr/>
          </a:p>
        </p:txBody>
      </p:sp>
      <p:sp>
        <p:nvSpPr>
          <p:cNvPr id="1468" name="Google Shape;1468;p67"/>
          <p:cNvSpPr txBox="1"/>
          <p:nvPr/>
        </p:nvSpPr>
        <p:spPr>
          <a:xfrm>
            <a:off x="6175775" y="2258428"/>
            <a:ext cx="2609450" cy="2139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амма-излучение</a:t>
            </a:r>
            <a:b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endParaRPr sz="12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спускается радионуклидными источниками  (в основном используется изотоп кобальт-60) в результате радиактивного распада.  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люсы: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сокая проникающая способность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Минусы: 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блемы с транспортировкой</a:t>
            </a:r>
            <a:endParaRPr/>
          </a:p>
          <a:p>
            <a:pPr marL="0" marR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r>
              <a:rPr lang="ru-RU" sz="1000" b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блемы с утилизацией отработанных источников</a:t>
            </a:r>
            <a:endParaRPr sz="1000" b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69" name="Google Shape;1469;p67" descr="source"/>
          <p:cNvPicPr preferRelativeResize="0"/>
          <p:nvPr/>
        </p:nvPicPr>
        <p:blipFill rotWithShape="1">
          <a:blip r:embed="rId3">
            <a:alphaModFix/>
          </a:blip>
          <a:srcRect l="6518" t="12602" r="11688" b="15604"/>
          <a:stretch/>
        </p:blipFill>
        <p:spPr>
          <a:xfrm>
            <a:off x="6180419" y="684183"/>
            <a:ext cx="2556000" cy="14494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0" name="Google Shape;1470;p67"/>
          <p:cNvPicPr preferRelativeResize="0"/>
          <p:nvPr/>
        </p:nvPicPr>
        <p:blipFill rotWithShape="1">
          <a:blip r:embed="rId4">
            <a:alphaModFix/>
          </a:blip>
          <a:srcRect t="22626" b="17599"/>
          <a:stretch/>
        </p:blipFill>
        <p:spPr>
          <a:xfrm>
            <a:off x="358773" y="684183"/>
            <a:ext cx="2556000" cy="14494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71" name="Google Shape;1471;p67"/>
          <p:cNvPicPr preferRelativeResize="0"/>
          <p:nvPr/>
        </p:nvPicPr>
        <p:blipFill rotWithShape="1">
          <a:blip r:embed="rId5">
            <a:alphaModFix/>
          </a:blip>
          <a:srcRect b="3248"/>
          <a:stretch/>
        </p:blipFill>
        <p:spPr>
          <a:xfrm>
            <a:off x="3288031" y="684183"/>
            <a:ext cx="2533649" cy="144941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456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7" name="Google Shape;1477;p68"/>
          <p:cNvSpPr/>
          <p:nvPr/>
        </p:nvSpPr>
        <p:spPr>
          <a:xfrm>
            <a:off x="3049199" y="3038475"/>
            <a:ext cx="6094801" cy="1522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8" name="Google Shape;1478;p68"/>
          <p:cNvSpPr/>
          <p:nvPr/>
        </p:nvSpPr>
        <p:spPr>
          <a:xfrm>
            <a:off x="3322140" y="1014438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9" name="Google Shape;1479;p68"/>
          <p:cNvSpPr/>
          <p:nvPr/>
        </p:nvSpPr>
        <p:spPr>
          <a:xfrm>
            <a:off x="6216305" y="1014438"/>
            <a:ext cx="244200" cy="244200"/>
          </a:xfrm>
          <a:prstGeom prst="ellipse">
            <a:avLst/>
          </a:prstGeom>
          <a:solidFill>
            <a:srgbClr val="77E2C3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3C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rgbClr val="00313C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0" name="Google Shape;1480;p68"/>
          <p:cNvSpPr txBox="1">
            <a:spLocks noGrp="1"/>
          </p:cNvSpPr>
          <p:nvPr>
            <p:ph type="title"/>
          </p:nvPr>
        </p:nvSpPr>
        <p:spPr>
          <a:xfrm>
            <a:off x="3383278" y="347883"/>
            <a:ext cx="5401895" cy="672600"/>
          </a:xfrm>
        </p:spPr>
        <p:txBody>
          <a:bodyPr/>
          <a:lstStyle/>
          <a:p>
            <a:pPr lvl="0"/>
            <a:r>
              <a:rPr lang="ru-RU" dirty="0" smtClean="0">
                <a:solidFill>
                  <a:schemeClr val="accent6"/>
                </a:solidFill>
              </a:rPr>
              <a:t>Радиационно–технологические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установки для стерилизации</a:t>
            </a:r>
            <a:endParaRPr lang="ru-RU" dirty="0"/>
          </a:p>
        </p:txBody>
      </p:sp>
      <p:sp>
        <p:nvSpPr>
          <p:cNvPr id="1490" name="Google Shape;1490;p68"/>
          <p:cNvSpPr txBox="1"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ru-RU" dirty="0"/>
              <a:t>Радиационная стерилизация медицинских изделий</a:t>
            </a:r>
          </a:p>
        </p:txBody>
      </p:sp>
      <p:sp>
        <p:nvSpPr>
          <p:cNvPr id="1481" name="Google Shape;1481;p68"/>
          <p:cNvSpPr txBox="1"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lvl="0"/>
            <a:fld id="{00000000-1234-1234-1234-123412341234}" type="slidenum">
              <a:rPr lang="ru-RU" smtClean="0"/>
              <a:pPr lvl="0"/>
              <a:t>9</a:t>
            </a:fld>
            <a:endParaRPr lang="ru-RU"/>
          </a:p>
        </p:txBody>
      </p:sp>
      <p:sp>
        <p:nvSpPr>
          <p:cNvPr id="1482" name="Google Shape;1482;p68"/>
          <p:cNvSpPr/>
          <p:nvPr/>
        </p:nvSpPr>
        <p:spPr>
          <a:xfrm>
            <a:off x="3383279" y="1047166"/>
            <a:ext cx="2501265" cy="1877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Ускоритель электронов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злучение генерируется на промышленных  ускорителях электронов: 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дукция обрабатывается в коробках, непрерывно следующих друг за другом. 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и высокой плотности коробок необходим переворот коробки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Скорость обработки коробки 10-120 секунд. </a:t>
            </a:r>
            <a:endParaRPr/>
          </a:p>
        </p:txBody>
      </p:sp>
      <p:sp>
        <p:nvSpPr>
          <p:cNvPr id="1484" name="Google Shape;1484;p68"/>
          <p:cNvSpPr/>
          <p:nvPr/>
        </p:nvSpPr>
        <p:spPr>
          <a:xfrm>
            <a:off x="6283960" y="1047166"/>
            <a:ext cx="2501265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Гамма-установка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злучение от радиоактивного распада изотопа Кобальт-60: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дукция обрабатывается в коробках или паллетах; 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родукция обрабатывается в режиме партии или непрерывном режиме;</a:t>
            </a:r>
            <a:endParaRPr/>
          </a:p>
          <a:p>
            <a:pPr marL="171450" marR="0" lvl="0" indent="-1714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Char char="•"/>
            </a:pPr>
            <a:r>
              <a:rPr lang="ru-RU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Длительность облучения 1-24 часа </a:t>
            </a:r>
            <a:endParaRPr/>
          </a:p>
        </p:txBody>
      </p:sp>
      <p:sp>
        <p:nvSpPr>
          <p:cNvPr id="1485" name="Google Shape;1485;p68"/>
          <p:cNvSpPr/>
          <p:nvPr/>
        </p:nvSpPr>
        <p:spPr>
          <a:xfrm>
            <a:off x="3383279" y="3117155"/>
            <a:ext cx="2501265" cy="1000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ыживаемость микроорганизмов строго зависит от поглощенной дозы - доза D10 приводит к снижению колониеобразующих единиц (КОЕ) на порядок. 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Не зависит от типа излучения</a:t>
            </a:r>
            <a:endParaRPr sz="1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6" name="Google Shape;1486;p68"/>
          <p:cNvSpPr/>
          <p:nvPr/>
        </p:nvSpPr>
        <p:spPr>
          <a:xfrm>
            <a:off x="6283909" y="3117155"/>
            <a:ext cx="2677211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Основной контролируемый параметр: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Поглощённая до́за - Грей (гр, Gy)  = Дж / кг</a:t>
            </a:r>
            <a:endParaRPr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0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величина энергии ионизирующего излучения, переданная веществу. Выражается как отношение энергии излучения, поглощенной в данном объеме, к массе вещества в этом объёме.</a:t>
            </a:r>
            <a:endParaRPr/>
          </a:p>
        </p:txBody>
      </p:sp>
      <p:sp>
        <p:nvSpPr>
          <p:cNvPr id="1487" name="Google Shape;1487;p68"/>
          <p:cNvSpPr/>
          <p:nvPr/>
        </p:nvSpPr>
        <p:spPr>
          <a:xfrm>
            <a:off x="0" y="3038475"/>
            <a:ext cx="3049200" cy="1522800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72000" tIns="36000" rIns="72000" bIns="3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endParaRPr sz="12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89" name="Google Shape;1489;p6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79987" y="3068320"/>
            <a:ext cx="2689225" cy="137909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Google Shape;1488;p68"/>
          <p:cNvPicPr preferRelativeResize="0"/>
          <p:nvPr/>
        </p:nvPicPr>
        <p:blipFill rotWithShape="1">
          <a:blip r:embed="rId8">
            <a:alphaModFix/>
          </a:blip>
          <a:srcRect t="14917" b="17640"/>
          <a:stretch/>
        </p:blipFill>
        <p:spPr>
          <a:xfrm>
            <a:off x="-1" y="1519237"/>
            <a:ext cx="3049200" cy="15043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Google Shape;1483;p68"/>
          <p:cNvPicPr preferRelativeResize="0"/>
          <p:nvPr/>
        </p:nvPicPr>
        <p:blipFill rotWithShape="1">
          <a:blip r:embed="rId9">
            <a:alphaModFix/>
          </a:blip>
          <a:srcRect b="10556"/>
          <a:stretch/>
        </p:blipFill>
        <p:spPr>
          <a:xfrm>
            <a:off x="-1" y="-10681"/>
            <a:ext cx="3049200" cy="153416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pic>
    </p:spTree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 сибур">
  <a:themeElements>
    <a:clrScheme name="СИБУР NEW ОСНОВНЫЕ ЦВЕТА">
      <a:dk1>
        <a:srgbClr val="00313C"/>
      </a:dk1>
      <a:lt1>
        <a:srgbClr val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rgbClr val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</TotalTime>
  <Words>3833</Words>
  <Application>Microsoft Office PowerPoint</Application>
  <PresentationFormat>Экран (16:9)</PresentationFormat>
  <Paragraphs>618</Paragraphs>
  <Slides>39</Slides>
  <Notes>3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7" baseType="lpstr">
      <vt:lpstr>Arial</vt:lpstr>
      <vt:lpstr>Gill Sans</vt:lpstr>
      <vt:lpstr>Calibri</vt:lpstr>
      <vt:lpstr>Wingdings</vt:lpstr>
      <vt:lpstr>Noto Sans Symbols</vt:lpstr>
      <vt:lpstr>Тема1 сибур</vt:lpstr>
      <vt:lpstr>Базовые слайды</vt:lpstr>
      <vt:lpstr>Слайд think-cell</vt:lpstr>
      <vt:lpstr>РАДИАЦИОННАЯ СТЕРИЛИЗАЦИЯ МЕДИЦИНСКИХ ИЗДЕЛИЙ</vt:lpstr>
      <vt:lpstr>Презентация PowerPoint</vt:lpstr>
      <vt:lpstr>Стерильные и нестерильные медицинские изделия. Финишная стерилизация и асептическое производство</vt:lpstr>
      <vt:lpstr>Методы стерилизации медицинских изделий</vt:lpstr>
      <vt:lpstr>Сравнение промышленных технологий стерилизации</vt:lpstr>
      <vt:lpstr>Распространение технологий стерилизации</vt:lpstr>
      <vt:lpstr>Природа ионизирующего излучения</vt:lpstr>
      <vt:lpstr>Промышленные установки для радиационной стерилизации</vt:lpstr>
      <vt:lpstr>Радиационно–технологические  установки для стерилизации</vt:lpstr>
      <vt:lpstr>Воздействие ионизирующего излучения  на полимерные материалы</vt:lpstr>
      <vt:lpstr>Радиационная стойкость полимеров медицинского назначения</vt:lpstr>
      <vt:lpstr>Радиационная стойкость полимеров медицинского назначения</vt:lpstr>
      <vt:lpstr>Марки СИБУРа, совместимые с радиационной стерилизацией</vt:lpstr>
      <vt:lpstr>Для чего нужна валидация процесса стерилизации? </vt:lpstr>
      <vt:lpstr>Зависимость количества микроорганизмов от степени воздействия стерилизующего агента</vt:lpstr>
      <vt:lpstr>Валидация процесса стерилизации</vt:lpstr>
      <vt:lpstr>Порядок выполнения работ  при валидации процесса стерилизации</vt:lpstr>
      <vt:lpstr>Презентация PowerPoint</vt:lpstr>
      <vt:lpstr>Для определения стерилизующей дозы применяется  один из двух подходов:</vt:lpstr>
      <vt:lpstr>Метод 1 (п. 7 ГОСТ ISO 11137-2)</vt:lpstr>
      <vt:lpstr>Почему проверочная доза? </vt:lpstr>
      <vt:lpstr>Установление максимально-допустимой дозы Dмакс.доп.  (п. 8.1 ГОСТ ISO 11137-1)</vt:lpstr>
      <vt:lpstr>Что происходит при неправильно выполненной валидации или при отсутствии валидации? </vt:lpstr>
      <vt:lpstr>1. Появление нестерильных медицинских изделий в стационарах</vt:lpstr>
      <vt:lpstr>ПРИЧИНА: Dмин &lt; Dст</vt:lpstr>
      <vt:lpstr>2. Несоответствие функциональных и эксплуатационных  свойств изделия</vt:lpstr>
      <vt:lpstr>2. Несоответствие функциональных и эксплуатационных  свойств изделия</vt:lpstr>
      <vt:lpstr>Снижение прочности нетканого материала «Спанбонд» при переоблучении </vt:lpstr>
      <vt:lpstr>ПРИЧИНА: Dмакс &gt; Dмакс.доп</vt:lpstr>
      <vt:lpstr>Реализация диапазона доз  Dст — Dмакс.доп.  на конкретной установке  с ускорителем электронов</vt:lpstr>
      <vt:lpstr>Установление диапазона доз в коробе</vt:lpstr>
      <vt:lpstr>По результатам измерений:</vt:lpstr>
      <vt:lpstr>Презентация PowerPoint</vt:lpstr>
      <vt:lpstr>Прочие факторы, влияющие  на стерильность продукции</vt:lpstr>
      <vt:lpstr>Документы, которые оформляются при валидации  процесса стерилизации</vt:lpstr>
      <vt:lpstr>Постановление Правительства РФ от 27.12.2012 N 1416 «Правила государственной регистрации медицинских изделий» содержит список документов, предоставляемых для регистрации МИ</vt:lpstr>
      <vt:lpstr>Презентация PowerPoint</vt:lpstr>
      <vt:lpstr>Поддержание эффективности процесса 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ДИАЦИОННАЯ СТЕРИЛИЗАЦИЯ МЕДИЦИНСКИХ ИЗДЕЛИЙ</dc:title>
  <dc:creator>Ермакова Татьяна Сергеевна</dc:creator>
  <cp:lastModifiedBy>Иванов Святослав Сергеевич</cp:lastModifiedBy>
  <cp:revision>27</cp:revision>
  <dcterms:modified xsi:type="dcterms:W3CDTF">2023-05-25T10:09:45Z</dcterms:modified>
</cp:coreProperties>
</file>